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6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2" r:id="rId5"/>
    <p:sldMasterId id="2147483686" r:id="rId6"/>
    <p:sldMasterId id="2147483698" r:id="rId7"/>
    <p:sldMasterId id="2147483722" r:id="rId8"/>
    <p:sldMasterId id="2147483734" r:id="rId9"/>
    <p:sldMasterId id="2147483739" r:id="rId10"/>
    <p:sldMasterId id="2147483757" r:id="rId11"/>
  </p:sldMasterIdLst>
  <p:notesMasterIdLst>
    <p:notesMasterId r:id="rId18"/>
  </p:notesMasterIdLst>
  <p:sldIdLst>
    <p:sldId id="546" r:id="rId12"/>
    <p:sldId id="2142533114" r:id="rId13"/>
    <p:sldId id="2142533115" r:id="rId14"/>
    <p:sldId id="2142533113" r:id="rId15"/>
    <p:sldId id="2142533110" r:id="rId16"/>
    <p:sldId id="2142533111" r:id="rId1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clair Megan" initials="AM" lastIdx="15" clrIdx="0">
    <p:extLst>
      <p:ext uri="{19B8F6BF-5375-455C-9EA6-DF929625EA0E}">
        <p15:presenceInfo xmlns:p15="http://schemas.microsoft.com/office/powerpoint/2012/main" userId="S::MEGAN.AUCLAIR@dhsoha.state.or.us::99bb00b3-648d-4d05-ade9-7fba13ecd390" providerId="AD"/>
      </p:ext>
    </p:extLst>
  </p:cmAuthor>
  <p:cmAuthor id="2" name="Jagger Dawn A" initials="JDA" lastIdx="24" clrIdx="1">
    <p:extLst>
      <p:ext uri="{19B8F6BF-5375-455C-9EA6-DF929625EA0E}">
        <p15:presenceInfo xmlns:p15="http://schemas.microsoft.com/office/powerpoint/2012/main" userId="S::Dawn.Jagger@dhsoha.state.or.us::d071b6ef-0c90-481a-9290-0640c9abffc6" providerId="AD"/>
      </p:ext>
    </p:extLst>
  </p:cmAuthor>
  <p:cmAuthor id="3" name="Hargunani Dana" initials="HD" lastIdx="10" clrIdx="2">
    <p:extLst>
      <p:ext uri="{19B8F6BF-5375-455C-9EA6-DF929625EA0E}">
        <p15:presenceInfo xmlns:p15="http://schemas.microsoft.com/office/powerpoint/2012/main" userId="S::DANA.HARGUNANI@dhsoha.state.or.us::0ef73ef5-fc48-4753-aeca-3f6dcb41c97b" providerId="AD"/>
      </p:ext>
    </p:extLst>
  </p:cmAuthor>
  <p:cmAuthor id="4" name="Baden David" initials="BD" lastIdx="2" clrIdx="3">
    <p:extLst>
      <p:ext uri="{19B8F6BF-5375-455C-9EA6-DF929625EA0E}">
        <p15:presenceInfo xmlns:p15="http://schemas.microsoft.com/office/powerpoint/2012/main" userId="S::DAVID.BADEN@dhsoha.state.or.us::e92600e9-247a-428e-9b36-5bffffea285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A9E"/>
    <a:srgbClr val="FCFEFE"/>
    <a:srgbClr val="CCFF33"/>
    <a:srgbClr val="D78D1F"/>
    <a:srgbClr val="EDCA73"/>
    <a:srgbClr val="E5B233"/>
    <a:srgbClr val="89BDBD"/>
    <a:srgbClr val="87B3A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265" autoAdjust="0"/>
    <p:restoredTop sz="94816" autoAdjust="0"/>
  </p:normalViewPr>
  <p:slideViewPr>
    <p:cSldViewPr snapToGrid="0">
      <p:cViewPr varScale="1">
        <p:scale>
          <a:sx n="108" d="100"/>
          <a:sy n="108" d="100"/>
        </p:scale>
        <p:origin x="1494" y="102"/>
      </p:cViewPr>
      <p:guideLst/>
    </p:cSldViewPr>
  </p:slideViewPr>
  <p:outlineViewPr>
    <p:cViewPr>
      <p:scale>
        <a:sx n="33" d="100"/>
        <a:sy n="33" d="100"/>
      </p:scale>
      <p:origin x="0" y="-17304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0" d="100"/>
          <a:sy n="70" d="100"/>
        </p:scale>
        <p:origin x="2547" y="57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6CA7AA-5500-45ED-B738-9446AF8C7BF7}" type="datetimeFigureOut">
              <a:rPr lang="en-US" smtClean="0"/>
              <a:t>1/1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6FCCE0-B1BF-449D-9010-0D09F328A5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09878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FDE1AF-C538-4F4C-A0B8-BD9126001FA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82776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6FCCE0-B1BF-449D-9010-0D09F328A524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44671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6FCCE0-B1BF-449D-9010-0D09F328A524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60802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OHAmasterpage_nobackfinal_shared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0" y="0"/>
            <a:ext cx="9138621" cy="6858000"/>
          </a:xfrm>
          <a:prstGeom prst="rect">
            <a:avLst/>
          </a:prstGeom>
        </p:spPr>
      </p:pic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682627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Titl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24384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153" name="Rectangle 9"/>
          <p:cNvSpPr>
            <a:spLocks noChangeArrowheads="1"/>
          </p:cNvSpPr>
          <p:nvPr/>
        </p:nvSpPr>
        <p:spPr bwMode="auto">
          <a:xfrm>
            <a:off x="3124200" y="6324600"/>
            <a:ext cx="289560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1" hangingPunct="1"/>
            <a:endParaRPr lang="en-US" sz="1200">
              <a:solidFill>
                <a:srgbClr val="005595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02179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A4D164C-97E3-4077-A336-8B3BA028DF35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45088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4403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4403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3401412-47C9-4FBE-B950-A30F096D7934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7814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:a16="http://schemas.microsoft.com/office/drawing/2014/main" id="{2AD93DC3-2293-4198-BDF7-2D48B7093CC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5588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682625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altLang="en-US" noProof="0"/>
              <a:t>Titl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24384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altLang="en-US" noProof="0"/>
              <a:t>Click to edit Master subtitle style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61E6C1E5-9555-4A94-B314-99DBC1858D4E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xfrm>
            <a:off x="2895600" y="6096000"/>
            <a:ext cx="2895600" cy="476250"/>
          </a:xfrm>
        </p:spPr>
        <p:txBody>
          <a:bodyPr/>
          <a:lstStyle>
            <a:lvl1pPr algn="l" eaLnBrk="0" hangingPunct="0">
              <a:spcBef>
                <a:spcPct val="50000"/>
              </a:spcBef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775475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B5ED33DD-3FCF-4976-813D-ABC54E13BF26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AA4372C9-8483-434E-AC48-263A4D750F19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5CBDC7-F241-4663-B339-A050E5256A1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2543E170-E7C9-4F31-9A28-324D500EBAEF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925484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3A6D72DE-E249-4D72-B5AB-B4DE976F4E31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652AE602-E129-45B9-8BA7-F47AD2E92B38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9355AE-1B8F-4991-8469-B7EBBD3E2AF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32A9B6B8-99CD-4113-B414-F990B2C4E70A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487055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65D96E4-8D10-4A60-8D21-4B435B888518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4636631A-995E-47B1-9A0C-88913C8685AB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D832B7-E7BE-4097-B6EE-769D0DDF834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7" name="Rectangle 10">
            <a:extLst>
              <a:ext uri="{FF2B5EF4-FFF2-40B4-BE49-F238E27FC236}">
                <a16:creationId xmlns:a16="http://schemas.microsoft.com/office/drawing/2014/main" id="{0ECF2167-4DBE-45C2-970A-393127E96A30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68946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C75F29C0-985E-4CCA-95EC-029C882F3F7A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8679012F-6909-48BE-BDF7-23462E3015AE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306CFD-2ED6-4816-841A-F22FABC148C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77A312C2-F640-4BBF-B37F-C3B133D41E27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719408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A11231C1-0494-4C19-BFA2-B1E72CC3770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4" name="Rectangle 8">
            <a:extLst>
              <a:ext uri="{FF2B5EF4-FFF2-40B4-BE49-F238E27FC236}">
                <a16:creationId xmlns:a16="http://schemas.microsoft.com/office/drawing/2014/main" id="{466752C9-22EA-4C02-A131-BC53C846D4A0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F219AB-CE53-438A-B076-7D9F082B6BB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5" name="Rectangle 10">
            <a:extLst>
              <a:ext uri="{FF2B5EF4-FFF2-40B4-BE49-F238E27FC236}">
                <a16:creationId xmlns:a16="http://schemas.microsoft.com/office/drawing/2014/main" id="{37DEF537-1D67-4276-8861-BC1E02148BED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518771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>
            <a:extLst>
              <a:ext uri="{FF2B5EF4-FFF2-40B4-BE49-F238E27FC236}">
                <a16:creationId xmlns:a16="http://schemas.microsoft.com/office/drawing/2014/main" id="{C8B892D5-5920-4CCB-9D63-93C20FEF8C9E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3" name="Rectangle 8">
            <a:extLst>
              <a:ext uri="{FF2B5EF4-FFF2-40B4-BE49-F238E27FC236}">
                <a16:creationId xmlns:a16="http://schemas.microsoft.com/office/drawing/2014/main" id="{CA01CA9C-7271-4B4E-B907-DB6986E5EBAD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9ADFC4-1475-460B-B9E2-9CFB41DFF5C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4" name="Rectangle 10">
            <a:extLst>
              <a:ext uri="{FF2B5EF4-FFF2-40B4-BE49-F238E27FC236}">
                <a16:creationId xmlns:a16="http://schemas.microsoft.com/office/drawing/2014/main" id="{A23F01F4-7BC7-4179-BAE1-42C9E3ACB824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839767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3EE9923-CAAB-4993-B135-EAA5DBF6018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538171EC-CCDF-4FF1-A563-08B3EB325213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34263A-7368-4C04-B6B0-C78B36E7AD9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7" name="Rectangle 10">
            <a:extLst>
              <a:ext uri="{FF2B5EF4-FFF2-40B4-BE49-F238E27FC236}">
                <a16:creationId xmlns:a16="http://schemas.microsoft.com/office/drawing/2014/main" id="{4E9409B9-8EF3-4BCE-8A7A-B49B14783067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070020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35B1C7C-2FE3-440E-960B-DC336E9D4EC3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68480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F10333-060A-4A82-BE0B-AB3A689D40F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BC2ECCA8-D871-411C-9BE3-03F2D3BF6617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255780-059F-483B-B198-F770037BF79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7" name="Rectangle 10">
            <a:extLst>
              <a:ext uri="{FF2B5EF4-FFF2-40B4-BE49-F238E27FC236}">
                <a16:creationId xmlns:a16="http://schemas.microsoft.com/office/drawing/2014/main" id="{D8FAFED9-8C58-4667-952B-797A5C6327A6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697204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B5335757-1CB8-47E6-A612-351791F63682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C1631848-1CBB-4AF2-A9E4-1CF4389A1142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89FECD-D080-419C-8C0B-C62E4384D14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287720C5-19FF-48CE-AFA7-291D02864EAB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8637334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4403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4403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2397E72D-22F8-433E-9489-2E11EA7E8E0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52B20A34-8642-4576-AA2F-C52CD1E899AC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07B927-9F32-489B-85D0-F5901BBA961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4D26DC1B-CAB5-4066-B552-64AA7DD4EE23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565357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Photo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910457886_1434x1669.jpg"/>
          <p:cNvSpPr>
            <a:spLocks noGrp="1"/>
          </p:cNvSpPr>
          <p:nvPr>
            <p:ph type="pic" idx="21"/>
          </p:nvPr>
        </p:nvSpPr>
        <p:spPr>
          <a:xfrm>
            <a:off x="4114800" y="-101600"/>
            <a:ext cx="4554314" cy="706755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pPr lvl="0"/>
            <a:endParaRPr noProof="0" dirty="0"/>
          </a:p>
        </p:txBody>
      </p:sp>
      <p:sp>
        <p:nvSpPr>
          <p:cNvPr id="33" name="Slide Title"/>
          <p:cNvSpPr txBox="1">
            <a:spLocks noGrp="1"/>
          </p:cNvSpPr>
          <p:nvPr>
            <p:ph type="title"/>
          </p:nvPr>
        </p:nvSpPr>
        <p:spPr>
          <a:xfrm>
            <a:off x="452438" y="635000"/>
            <a:ext cx="3667125" cy="2941137"/>
          </a:xfrm>
          <a:prstGeom prst="rect">
            <a:avLst/>
          </a:prstGeom>
        </p:spPr>
        <p:txBody>
          <a:bodyPr anchor="b"/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4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452438" y="3530288"/>
            <a:ext cx="3667125" cy="2692712"/>
          </a:xfrm>
          <a:prstGeom prst="rect">
            <a:avLst/>
          </a:prstGeom>
        </p:spPr>
        <p:txBody>
          <a:bodyPr/>
          <a:lstStyle>
            <a:lvl1pPr marL="0" indent="0" defTabSz="309563">
              <a:lnSpc>
                <a:spcPct val="100000"/>
              </a:lnSpc>
              <a:spcBef>
                <a:spcPts val="0"/>
              </a:spcBef>
              <a:buSzTx/>
              <a:buNone/>
              <a:defRPr sz="2063" b="1"/>
            </a:lvl1pPr>
            <a:lvl2pPr marL="0" indent="171450" defTabSz="309563">
              <a:lnSpc>
                <a:spcPct val="100000"/>
              </a:lnSpc>
              <a:spcBef>
                <a:spcPts val="0"/>
              </a:spcBef>
              <a:buSzTx/>
              <a:buNone/>
              <a:defRPr sz="2063" b="1"/>
            </a:lvl2pPr>
            <a:lvl3pPr marL="0" indent="342900" defTabSz="309563">
              <a:lnSpc>
                <a:spcPct val="100000"/>
              </a:lnSpc>
              <a:spcBef>
                <a:spcPts val="0"/>
              </a:spcBef>
              <a:buSzTx/>
              <a:buNone/>
              <a:defRPr sz="2063" b="1"/>
            </a:lvl3pPr>
            <a:lvl4pPr marL="0" indent="514350" defTabSz="309563">
              <a:lnSpc>
                <a:spcPct val="100000"/>
              </a:lnSpc>
              <a:spcBef>
                <a:spcPts val="0"/>
              </a:spcBef>
              <a:buSzTx/>
              <a:buNone/>
              <a:defRPr sz="2063" b="1"/>
            </a:lvl4pPr>
            <a:lvl5pPr marL="0" indent="685800" defTabSz="309563">
              <a:lnSpc>
                <a:spcPct val="100000"/>
              </a:lnSpc>
              <a:spcBef>
                <a:spcPts val="0"/>
              </a:spcBef>
              <a:buSzTx/>
              <a:buNone/>
              <a:defRPr sz="2063" b="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0090B28C-07C1-4951-A5D2-A32E3207747C}"/>
              </a:ext>
            </a:extLst>
          </p:cNvPr>
          <p:cNvSpPr txBox="1">
            <a:spLocks noGrp="1"/>
          </p:cNvSpPr>
          <p:nvPr>
            <p:ph type="sldNum" sz="quarter" idx="22"/>
          </p:nvPr>
        </p:nvSpPr>
        <p:spPr>
          <a:xfrm>
            <a:off x="4500563" y="6542088"/>
            <a:ext cx="138112" cy="1873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1EAC5C-7F39-4945-88CA-26DB39FBB9D8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87268479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:a16="http://schemas.microsoft.com/office/drawing/2014/main" id="{1F8D761A-EA0D-4F4F-81E8-CC5966C16A4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5588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682625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altLang="en-US" noProof="0"/>
              <a:t>Titl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24384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altLang="en-US" noProof="0"/>
              <a:t>Click to edit Master subtitle style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97F8660C-F8A4-4069-B80B-A491A2179DA9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xfrm>
            <a:off x="2895600" y="6096000"/>
            <a:ext cx="2895600" cy="476250"/>
          </a:xfrm>
        </p:spPr>
        <p:txBody>
          <a:bodyPr/>
          <a:lstStyle>
            <a:lvl1pPr algn="l" eaLnBrk="0" hangingPunct="0">
              <a:spcBef>
                <a:spcPct val="50000"/>
              </a:spcBef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4828020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78248DB4-B92C-43FC-AFA4-B4B0CA88ACCE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AE7AA7B4-11E7-4F6F-BE5D-BF783E5164E5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9639A3-1858-4587-B42B-EABC4364E7D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46CB1811-F701-4981-898C-8D2916153BC6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4408672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5CD72E73-A092-41F3-9BEB-AB9D57999E3C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012439A7-46BC-4211-80AC-F0A3053FC066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7C7F8A-88A1-4869-9C88-369DE3E1BBC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A0036DD7-8E53-4BDE-8334-B5B34D251E3A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7564897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431863F-C668-4871-A7FC-B56BB1C424A6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21CF9734-3C81-4D4A-93A4-6A98E7425009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2DC2FF-3839-4380-96A3-EE35C2AD826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7" name="Rectangle 10">
            <a:extLst>
              <a:ext uri="{FF2B5EF4-FFF2-40B4-BE49-F238E27FC236}">
                <a16:creationId xmlns:a16="http://schemas.microsoft.com/office/drawing/2014/main" id="{EF89C515-D779-424E-B548-0386E8386850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9312979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60C89B86-C5D7-4179-82D6-4EE5130CEE59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C2438882-AD47-48A3-ABA7-14D73D09D23E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08FCF6-B49D-4090-9258-FA1F113A70D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0F54B154-DE2B-4042-B82B-ADDE4F539CC0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461569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D8AA22A5-4F69-4FFB-8730-68A95F7746E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4" name="Rectangle 8">
            <a:extLst>
              <a:ext uri="{FF2B5EF4-FFF2-40B4-BE49-F238E27FC236}">
                <a16:creationId xmlns:a16="http://schemas.microsoft.com/office/drawing/2014/main" id="{30ADA827-81A6-425B-AAAF-ECDF27FE25E7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CC18E4-41D5-4DA9-9D6E-64089BB6674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5" name="Rectangle 10">
            <a:extLst>
              <a:ext uri="{FF2B5EF4-FFF2-40B4-BE49-F238E27FC236}">
                <a16:creationId xmlns:a16="http://schemas.microsoft.com/office/drawing/2014/main" id="{9160DC70-C4C5-4EAC-858A-1EAEB9C6D1CF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579992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693C284-B4DC-451D-807D-F60D65E3CB4B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61202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>
            <a:extLst>
              <a:ext uri="{FF2B5EF4-FFF2-40B4-BE49-F238E27FC236}">
                <a16:creationId xmlns:a16="http://schemas.microsoft.com/office/drawing/2014/main" id="{395FA008-4223-4264-8507-0757836347A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3" name="Rectangle 8">
            <a:extLst>
              <a:ext uri="{FF2B5EF4-FFF2-40B4-BE49-F238E27FC236}">
                <a16:creationId xmlns:a16="http://schemas.microsoft.com/office/drawing/2014/main" id="{C81DFF44-47F3-4743-8952-11D78576F9BE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198126-13BB-4931-B525-53201A17FF7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4" name="Rectangle 10">
            <a:extLst>
              <a:ext uri="{FF2B5EF4-FFF2-40B4-BE49-F238E27FC236}">
                <a16:creationId xmlns:a16="http://schemas.microsoft.com/office/drawing/2014/main" id="{5B7B1408-5ECA-43F5-A52D-586949158B9D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6005273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E8DB76A-2094-43F1-A9BA-4B5782B3414B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5C158CAA-CD71-431A-A1A6-C1090DDB9EEF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299102-8E99-45AC-89FD-BED1C6693B5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7" name="Rectangle 10">
            <a:extLst>
              <a:ext uri="{FF2B5EF4-FFF2-40B4-BE49-F238E27FC236}">
                <a16:creationId xmlns:a16="http://schemas.microsoft.com/office/drawing/2014/main" id="{D0C8CF63-4C11-4890-81D4-DC04756FE7FD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973337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F362EE0-6C5E-479D-BA35-536604C96F13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3C64675B-3A38-4C34-A1DB-6B4634FEB64B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B2DBC7-47C5-4305-B97F-6B614D5AFA2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7" name="Rectangle 10">
            <a:extLst>
              <a:ext uri="{FF2B5EF4-FFF2-40B4-BE49-F238E27FC236}">
                <a16:creationId xmlns:a16="http://schemas.microsoft.com/office/drawing/2014/main" id="{815BB31B-E169-44D0-BD37-EF963CE7FE40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3261165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93F59B9F-0FE7-4DAD-BF06-74BA79CB85F1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8F8BBE27-2D99-4AE7-A8C5-F37B996E6DA4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7B09E7-CC01-44CF-9D97-D1BCE13B25C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73E561B1-DC7C-4A95-ABFF-633CE3281EB5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4403647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4403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4403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43AC3F95-2E21-43BA-9893-1758B37FF24B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1C3086F4-E28E-4BDC-A179-95499B9DF51E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196FE0-B4D3-423E-AF42-99DCA266DB8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695636AC-AEF0-4640-93F0-23D609EC30E9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6895585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:a16="http://schemas.microsoft.com/office/drawing/2014/main" id="{A616602A-0233-46CC-955D-FE42D6F635E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5588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682625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altLang="en-US" noProof="0"/>
              <a:t>Titl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24384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altLang="en-US" noProof="0" dirty="0"/>
              <a:t>Click to edit Master subtitle style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86FA98EE-B76F-4615-B756-142AC1B808E8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xfrm>
            <a:off x="2895600" y="6096000"/>
            <a:ext cx="3276600" cy="476250"/>
          </a:xfrm>
        </p:spPr>
        <p:txBody>
          <a:bodyPr/>
          <a:lstStyle>
            <a:lvl1pPr algn="ctr" eaLnBrk="0" hangingPunct="0">
              <a:spcBef>
                <a:spcPct val="50000"/>
              </a:spcBef>
              <a:defRPr/>
            </a:lvl1pPr>
          </a:lstStyle>
          <a:p>
            <a:pPr>
              <a:defRPr/>
            </a:pPr>
            <a:r>
              <a:rPr lang="en-US" altLang="en-US"/>
              <a:t>OREGON PUBLIC HEALTH DIVISION</a:t>
            </a:r>
            <a:br>
              <a:rPr lang="en-US" altLang="en-US"/>
            </a:br>
            <a:r>
              <a:rPr lang="en-US" altLang="en-US"/>
              <a:t>Acute &amp; Communicable Disease Prevention</a:t>
            </a:r>
          </a:p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7434672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37214D-0E20-4E23-8C8C-47C657D26C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CAA9AED-9686-4AC4-8B36-D38D34C8ECB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8CD71E-01A7-4E45-8BC3-62FEB67993C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202CE2E-AE1B-4FD1-A52C-CB87416CFF2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0219458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6D3D9B-8A71-44D3-8C89-3262B4C9D9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21770B-08A3-4642-947F-1D801C03E8A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A4ED18-181B-4DD8-994D-FD6D7D97717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F82C00-376F-4418-9982-F33D072445F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3662728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CE0C827-64F6-4144-9F2B-C0AC5D92F2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D9E3A8-1223-41BA-A67D-2F0BF17CCFB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32C2CF-F847-43E8-A6A3-C7061343CE0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34763F4-7068-44F4-A76E-9B8F34C7BFA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0109340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420A39B-2203-4824-B3E3-1A33EB5955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8842C87-1219-4CC3-9830-9DCAD43DCA2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6AC217-D171-4CB0-A5DC-2B15BA961CF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3D2CE8E-A09E-4B48-B607-3384B491BFD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693118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7962D4F-5079-4222-824C-2D2332E0DD5E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94035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6A259EF-741B-4861-8ABC-6EBC58977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6664E7-2C05-41C7-AF90-EDE300DFDC1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D0A876-57CD-4F5C-9C45-8A0C5F3EED3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1FF5D2-A2F4-4834-BA07-919420D3A27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9073730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B018121-20F4-425A-9660-AD8FB7F266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F5F9940-DA34-4F32-BAC4-13404475C2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EE575E-357C-4FB3-B9AE-43D8A6BE329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F0B78F6-29FA-4179-A3A1-4878CE6F835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1129136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CE7A485-010A-4A4F-9447-12D768DE3A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BFED0A-AEFB-4281-9E71-608ABEEE06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F459CE-820A-46B5-9B5C-341150AFEC9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9BDA011-E06A-4BCB-A7CE-364BADDD00D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9635457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EAD7C86-EED5-42E4-B453-25147FCCAF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22DF94-9A86-47D6-B4F7-C5629FE1EA1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D2830C-2FF6-4833-B1BB-CD0BCE96FF1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7092CD1-FA86-4A69-BF8F-E270295ABD5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2702094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BEA68F-1497-4364-9ABF-055B70FD34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1A2537E-F024-4EEF-8034-5A4A95DD88B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8424C3-C66B-4B84-9628-090B56B58AB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B2F0DF-C826-49EC-AF27-D93F57F0CB7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0244192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4403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4403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A7D7EE-1BDA-44A2-9EC5-A4ACF383AB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B575EC8-51F1-49FB-AD3E-31FE8C4CBF7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755FBB-28E1-42BF-9BBB-05DFF6BC1EF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43AEE98-BE83-4158-AC0B-26E0BDE536C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6348593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51" name="Picture 7">
            <a:extLst>
              <a:ext uri="{FF2B5EF4-FFF2-40B4-BE49-F238E27FC236}">
                <a16:creationId xmlns:a16="http://schemas.microsoft.com/office/drawing/2014/main" id="{C061AB41-B8E5-4DF3-A971-84D53E5AAC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5588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46" name="Rectangle 2">
            <a:extLst>
              <a:ext uri="{FF2B5EF4-FFF2-40B4-BE49-F238E27FC236}">
                <a16:creationId xmlns:a16="http://schemas.microsoft.com/office/drawing/2014/main" id="{65F52A8B-4B28-459C-B0FA-97EC6046C22F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685800" y="682625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altLang="en-US" noProof="0"/>
              <a:t>Title</a:t>
            </a:r>
          </a:p>
        </p:txBody>
      </p:sp>
      <p:sp>
        <p:nvSpPr>
          <p:cNvPr id="6147" name="Rectangle 3">
            <a:extLst>
              <a:ext uri="{FF2B5EF4-FFF2-40B4-BE49-F238E27FC236}">
                <a16:creationId xmlns:a16="http://schemas.microsoft.com/office/drawing/2014/main" id="{55B89B5C-C7B7-4E97-B820-767597950C4D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1371600" y="24384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altLang="en-US" noProof="0"/>
              <a:t>Click to edit Master subtitle style</a:t>
            </a:r>
          </a:p>
        </p:txBody>
      </p:sp>
      <p:sp>
        <p:nvSpPr>
          <p:cNvPr id="6149" name="Rectangle 5">
            <a:extLst>
              <a:ext uri="{FF2B5EF4-FFF2-40B4-BE49-F238E27FC236}">
                <a16:creationId xmlns:a16="http://schemas.microsoft.com/office/drawing/2014/main" id="{91B404A0-B154-4B51-BDB4-8C8C244EF3A3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>
          <a:xfrm>
            <a:off x="2895600" y="6096000"/>
            <a:ext cx="2895600" cy="476250"/>
          </a:xfrm>
        </p:spPr>
        <p:txBody>
          <a:bodyPr/>
          <a:lstStyle>
            <a:lvl1pPr algn="l" eaLnBrk="0" hangingPunct="0">
              <a:spcBef>
                <a:spcPct val="50000"/>
              </a:spcBef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7086183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353C86-9996-4BB4-980B-7D8A638BD6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628394-2F5C-45A3-8A44-025757D438E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394E22-D432-4A43-ACD1-7E985697B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57C58B-54E1-4ACA-895D-C845CB3B8AA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D26A203-415D-4398-8C79-721B06B11C49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17B573E-4F55-473A-91D4-03A1E23FAC2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2329037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FE8CB8-4430-4404-B0C9-EA603E5CFE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3188CD-29FC-4BB0-A870-93508F388E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A28D91-6907-474A-93FC-283CC86B89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C4F52F-8792-434D-8F0C-5DD3548BB8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B73CF502-A19F-4F9E-B9AF-4CF6F5F719D5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9742B5F-FAA6-4C0B-B513-3D341CE66BF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769842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931687-0B0F-4A37-B99A-1E3A835248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6CD9B6-F70F-49EE-AFC4-020F1F07972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6730E46-4E50-46C0-8B6C-815EFA53C03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1005C85-040B-4485-8B8D-93D912E729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3E0537-CA43-46A4-9C79-014C8DBB89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6FE4703-2EA3-4979-BA5B-CD843B5540A8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5AAC1E0-F77D-42FA-BB58-921DCD0D25C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274733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B73C464-62F4-41AC-86F0-6F0305D6E9D3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008678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ED4DD2-DF26-4D39-A301-4B5B53E532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1AEC85-2BD6-41C8-BA6A-47CFA6AA18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673AD5C-64EB-40D9-8E58-05ED1CEC977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D496488-7552-4319-AFD7-B4D3D92DB7E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D233F98-2341-44F1-8EAD-E78AC34DB74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2D60AD0-45FD-4B56-84CA-E9158C63AF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18466AF-E417-4D47-8D19-D20AA23C32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6543770-14CB-457F-A33E-1A213EF32B84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00049BD-F57C-48B5-9C6F-8E5E88AC5D0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2204760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7A4B58-3045-4A1B-A76B-7DE2C3978B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E87994F-B0A8-45F2-AA7C-74F9632442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F896FA-B925-438C-8A95-B328CEF84A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71B15ACB-7A7D-4BE9-9D7E-A065C88996FA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17D231-9BF6-4AFA-9650-8A7F526D928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1483899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CBE8EC2-C258-4209-9DCB-F233816F67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C73018F-B74B-4861-83F4-AD5D13DAA4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483F123-0FA1-4F4D-84E6-64A1235F38AF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70BCAC-982A-4E71-81D2-DF0CDC10F2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5194320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1F8592-031D-4395-9E83-1873F1485B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3BF73E-BE26-4E72-BB6E-DB3CA168CF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9AB853-6DEA-4F13-8E6E-E85CFB65A72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6E8019D-98D5-492F-B59E-BDCD027418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095905-AF18-4783-B3BA-61656145EB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BA63A59-C370-4678-A474-58B095D7700C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C68C659-87FF-4BEE-9551-88487A15F12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8146868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698E96-BE71-447D-BCA9-23EC9DF4E2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013B746-9E10-4D8B-B1D3-CFB2AFFD06D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27E88-87ED-415F-986A-ED61EC1DF37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3E0EDE-991F-4FDC-A0E0-D4D0337015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1E9A4D-219A-47A6-86EA-5DC4E1F20B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78924A8-427D-4656-8797-27427C18EEF5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CCCBF7F-506C-48D5-AA09-BC78BCA0601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4758333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E03BF8-3E79-4F67-9426-1C101F6AA6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19C8BDB-773E-4F10-BE9C-8C3E9F2BAB4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93CA58-35A3-4684-AD90-B7B020878A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DC3831F-4999-4E93-87A8-35C035E8FA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91FAA71-1056-475E-B27B-3B2C5050B23C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28FAF9F-013E-44B0-8C7E-455EF2E2E42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8896695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B44E308-05AD-43BB-A792-4C725ECAAB9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4403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4309D42-C672-4BFE-B4A5-4496B068B89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4403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8E7230-7B99-4CE2-82AD-9223BC116B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D53931-ADF6-4E0D-B830-C8DEF5651C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F84CF2B-39AD-4036-858D-34A781F06D74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D1D70A-6823-401F-889A-DBFEC7E6680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5306446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:a16="http://schemas.microsoft.com/office/drawing/2014/main" id="{FE50E251-4B74-4222-849F-3B8F335C30F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204"/>
            <a:ext cx="9145588" cy="68591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682633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altLang="en-US" noProof="0"/>
              <a:t>Titl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24384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1050"/>
            </a:lvl1pPr>
          </a:lstStyle>
          <a:p>
            <a:pPr lvl="0"/>
            <a:r>
              <a:rPr lang="en-US" altLang="en-US" noProof="0"/>
              <a:t>Click to edit Master subtitle style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FEAE2EB5-C95C-41EE-A837-79B28D38CA25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xfrm>
            <a:off x="2895600" y="6096000"/>
            <a:ext cx="2895600" cy="476250"/>
          </a:xfrm>
        </p:spPr>
        <p:txBody>
          <a:bodyPr/>
          <a:lstStyle>
            <a:lvl1pPr algn="l" eaLnBrk="0" hangingPunct="0">
              <a:spcBef>
                <a:spcPct val="50000"/>
              </a:spcBef>
              <a:defRPr/>
            </a:lvl1pPr>
          </a:lstStyle>
          <a:p>
            <a:pPr>
              <a:defRPr/>
            </a:pPr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76454974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8">
            <a:extLst>
              <a:ext uri="{FF2B5EF4-FFF2-40B4-BE49-F238E27FC236}">
                <a16:creationId xmlns:a16="http://schemas.microsoft.com/office/drawing/2014/main" id="{780648EC-8D52-4F8C-B21B-D5816BCEB3F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5CC19D-8B0B-46F9-A12C-19C1C443E84E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Rectangle 10">
            <a:extLst>
              <a:ext uri="{FF2B5EF4-FFF2-40B4-BE49-F238E27FC236}">
                <a16:creationId xmlns:a16="http://schemas.microsoft.com/office/drawing/2014/main" id="{2047F63A-B30F-4A2B-A246-1C463B4C58C5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77307741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8">
            <a:extLst>
              <a:ext uri="{FF2B5EF4-FFF2-40B4-BE49-F238E27FC236}">
                <a16:creationId xmlns:a16="http://schemas.microsoft.com/office/drawing/2014/main" id="{780648EC-8D52-4F8C-B21B-D5816BCEB3F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5CC19D-8B0B-46F9-A12C-19C1C443E84E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Rectangle 10">
            <a:extLst>
              <a:ext uri="{FF2B5EF4-FFF2-40B4-BE49-F238E27FC236}">
                <a16:creationId xmlns:a16="http://schemas.microsoft.com/office/drawing/2014/main" id="{2047F63A-B30F-4A2B-A246-1C463B4C58C5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2672892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01E5BF8-2D8D-486B-87C7-C2DCA0D61843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697813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>
            <a:extLst>
              <a:ext uri="{FF2B5EF4-FFF2-40B4-BE49-F238E27FC236}">
                <a16:creationId xmlns:a16="http://schemas.microsoft.com/office/drawing/2014/main" id="{933D54F0-357B-450E-B0C7-0FB6B8D921F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3765F3-E9AA-4E9B-B262-B819B5219BF4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12D0AE9B-B9C3-4243-AFA6-E7AADBBBF96A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59349942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OHAmasterpage_nobackfinal_shared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689" y="0"/>
            <a:ext cx="9138621" cy="6858000"/>
          </a:xfrm>
          <a:prstGeom prst="rect">
            <a:avLst/>
          </a:prstGeom>
        </p:spPr>
      </p:pic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682625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Titl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24384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153" name="Rectangle 9"/>
          <p:cNvSpPr>
            <a:spLocks noChangeArrowheads="1"/>
          </p:cNvSpPr>
          <p:nvPr/>
        </p:nvSpPr>
        <p:spPr bwMode="auto">
          <a:xfrm>
            <a:off x="3124200" y="6324600"/>
            <a:ext cx="289560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1" hangingPunct="1"/>
            <a:endParaRPr lang="en-US" sz="1200">
              <a:solidFill>
                <a:srgbClr val="005595"/>
              </a:solidFill>
              <a:latin typeface="Arial" charset="0"/>
            </a:endParaRP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2E1FEAB-F8A3-4846-AA00-7FBA71BE3A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34639" y="6534150"/>
            <a:ext cx="3532909" cy="3238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Footer</a:t>
            </a:r>
          </a:p>
          <a:p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7D744E5-3786-4652-8DE9-FF690F122B99}"/>
              </a:ext>
            </a:extLst>
          </p:cNvPr>
          <p:cNvPicPr/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1" y="5702530"/>
            <a:ext cx="2181182" cy="412519"/>
          </a:xfrm>
          <a:prstGeom prst="rect">
            <a:avLst/>
          </a:prstGeom>
        </p:spPr>
      </p:pic>
      <p:sp>
        <p:nvSpPr>
          <p:cNvPr id="11" name="Rectangle 8">
            <a:extLst>
              <a:ext uri="{FF2B5EF4-FFF2-40B4-BE49-F238E27FC236}">
                <a16:creationId xmlns:a16="http://schemas.microsoft.com/office/drawing/2014/main" id="{AEB213A1-D940-477E-862A-4F3F9BD4337D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534150"/>
            <a:ext cx="213360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5595"/>
                </a:solidFill>
                <a:latin typeface="+mn-lt"/>
              </a:defRPr>
            </a:lvl1pPr>
          </a:lstStyle>
          <a:p>
            <a:fld id="{4992160A-B009-4DF0-9663-DC50E3E3959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372026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35B1C7C-2FE3-440E-960B-DC336E9D4EC3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Footer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948613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693C284-B4DC-451D-807D-F60D65E3CB4B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Footer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600476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7962D4F-5079-4222-824C-2D2332E0DD5E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Footer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873651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B73C464-62F4-41AC-86F0-6F0305D6E9D3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Footer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540932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01E5BF8-2D8D-486B-87C7-C2DCA0D61843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Footer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544790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10F3097-2133-4D9E-BC2B-43985C5D995A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Footer</a:t>
            </a:r>
          </a:p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508D957-E888-4686-B7D9-4EAE6F568C64}"/>
              </a:ext>
            </a:extLst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500" y="6068291"/>
            <a:ext cx="1600200" cy="302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262537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129712D-99B4-4A1B-A104-7124243888D5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Footer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660391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620B12F-3AA2-41D6-BCED-9B854066AE1B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2480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10F3097-2133-4D9E-BC2B-43985C5D995A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54502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A4D164C-97E3-4077-A336-8B3BA028DF35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610706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4403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4403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3401412-47C9-4FBE-B950-A30F096D7934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881805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94944"/>
            <a:ext cx="77724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2700" b="0" spc="-56" dirty="0">
                <a:latin typeface="+mj-lt"/>
              </a:defRPr>
            </a:lvl1pPr>
          </a:lstStyle>
          <a:p>
            <a:pPr lvl="0" defTabSz="51435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C811CD71-04DB-4D73-B8B2-6FB76AB4738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04800" y="6534150"/>
            <a:ext cx="2133600" cy="247650"/>
          </a:xfrm>
        </p:spPr>
        <p:txBody>
          <a:bodyPr/>
          <a:lstStyle>
            <a:lvl1pPr>
              <a:defRPr/>
            </a:lvl1pPr>
          </a:lstStyle>
          <a:p>
            <a:fld id="{83401412-47C9-4FBE-B950-A30F096D793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072195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Right, Subhead &amp; Bread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B912B5A-4EFE-4F10-9322-C971DDF230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1746182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6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B912B5A-4EFE-4F10-9322-C971DDF230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F43516-C935-4785-8727-EA48BADEDC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0" i="0" baseline="0">
              <a:latin typeface="Chronicle Display Black" pitchFamily="50" charset="0"/>
              <a:sym typeface="Chronicle Display Black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DFAB292-D9D0-4411-8456-90C02DB401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25" y="669544"/>
            <a:ext cx="4603134" cy="381392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38CA61B-8DBB-4395-9E9F-405E5CBF79F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3605213" cy="6858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650516E-641C-4EFA-8CA7-4E0C60B42C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48125" y="1050936"/>
            <a:ext cx="4603134" cy="381392"/>
          </a:xfrm>
        </p:spPr>
        <p:txBody>
          <a:bodyPr/>
          <a:lstStyle>
            <a:lvl1pPr marL="0" indent="0">
              <a:buNone/>
              <a:defRPr sz="900"/>
            </a:lvl1pPr>
          </a:lstStyle>
          <a:p>
            <a:pPr lvl="0"/>
            <a:r>
              <a:rPr lang="en-US" sz="1050"/>
              <a:t>Click to edit Master text styles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E0280C66-47F5-4458-AA31-95CF3025E37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8125" y="466344"/>
            <a:ext cx="2516886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675" b="1" kern="0" cap="all" spc="188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171450" lvl="0" indent="-171450"/>
            <a:r>
              <a:rPr lang="en-US"/>
              <a:t>BREADCRUMBS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D8DDD86A-F6F6-46D4-9095-97B5C3E036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304800" y="6534150"/>
            <a:ext cx="2133600" cy="247650"/>
          </a:xfrm>
        </p:spPr>
        <p:txBody>
          <a:bodyPr/>
          <a:lstStyle>
            <a:lvl1pPr>
              <a:defRPr/>
            </a:lvl1pPr>
          </a:lstStyle>
          <a:p>
            <a:fld id="{83401412-47C9-4FBE-B950-A30F096D793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052582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">
    <p:bg>
      <p:bgPr>
        <a:solidFill>
          <a:srgbClr val="FDD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44B521E-45B1-4DF5-AF83-CF81FF72A0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1856437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0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44B521E-45B1-4DF5-AF83-CF81FF72A0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B9F01BCD-D0E7-4C16-818C-FDF6C61207F4}"/>
              </a:ext>
            </a:extLst>
          </p:cNvPr>
          <p:cNvGrpSpPr/>
          <p:nvPr userDrawn="1"/>
        </p:nvGrpSpPr>
        <p:grpSpPr>
          <a:xfrm>
            <a:off x="4943284" y="2239972"/>
            <a:ext cx="1839554" cy="2728580"/>
            <a:chOff x="6953285" y="3278976"/>
            <a:chExt cx="1506831" cy="1682464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035AD732-4189-4F7D-8A59-BEA1A0C7469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291345" y="3278976"/>
              <a:ext cx="1168771" cy="1682464"/>
              <a:chOff x="5614264" y="2194216"/>
              <a:chExt cx="2755900" cy="3967163"/>
            </a:xfrm>
          </p:grpSpPr>
          <p:sp>
            <p:nvSpPr>
              <p:cNvPr id="7" name="Freeform 55">
                <a:extLst>
                  <a:ext uri="{FF2B5EF4-FFF2-40B4-BE49-F238E27FC236}">
                    <a16:creationId xmlns:a16="http://schemas.microsoft.com/office/drawing/2014/main" id="{4E44469E-381F-4E01-A7CB-1C0D52CCBF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4264" y="2194216"/>
                <a:ext cx="2755900" cy="3967163"/>
              </a:xfrm>
              <a:custGeom>
                <a:avLst/>
                <a:gdLst>
                  <a:gd name="T0" fmla="*/ 1484 w 1736"/>
                  <a:gd name="T1" fmla="*/ 1601 h 2499"/>
                  <a:gd name="T2" fmla="*/ 1675 w 1736"/>
                  <a:gd name="T3" fmla="*/ 999 h 2499"/>
                  <a:gd name="T4" fmla="*/ 1696 w 1736"/>
                  <a:gd name="T5" fmla="*/ 908 h 2499"/>
                  <a:gd name="T6" fmla="*/ 1705 w 1736"/>
                  <a:gd name="T7" fmla="*/ 815 h 2499"/>
                  <a:gd name="T8" fmla="*/ 1705 w 1736"/>
                  <a:gd name="T9" fmla="*/ 745 h 2499"/>
                  <a:gd name="T10" fmla="*/ 1690 w 1736"/>
                  <a:gd name="T11" fmla="*/ 632 h 2499"/>
                  <a:gd name="T12" fmla="*/ 1660 w 1736"/>
                  <a:gd name="T13" fmla="*/ 526 h 2499"/>
                  <a:gd name="T14" fmla="*/ 1614 w 1736"/>
                  <a:gd name="T15" fmla="*/ 424 h 2499"/>
                  <a:gd name="T16" fmla="*/ 1555 w 1736"/>
                  <a:gd name="T17" fmla="*/ 334 h 2499"/>
                  <a:gd name="T18" fmla="*/ 1484 w 1736"/>
                  <a:gd name="T19" fmla="*/ 252 h 2499"/>
                  <a:gd name="T20" fmla="*/ 1403 w 1736"/>
                  <a:gd name="T21" fmla="*/ 180 h 2499"/>
                  <a:gd name="T22" fmla="*/ 1310 w 1736"/>
                  <a:gd name="T23" fmla="*/ 122 h 2499"/>
                  <a:gd name="T24" fmla="*/ 1210 w 1736"/>
                  <a:gd name="T25" fmla="*/ 76 h 2499"/>
                  <a:gd name="T26" fmla="*/ 1103 w 1736"/>
                  <a:gd name="T27" fmla="*/ 46 h 2499"/>
                  <a:gd name="T28" fmla="*/ 990 w 1736"/>
                  <a:gd name="T29" fmla="*/ 32 h 2499"/>
                  <a:gd name="T30" fmla="*/ 914 w 1736"/>
                  <a:gd name="T31" fmla="*/ 32 h 2499"/>
                  <a:gd name="T32" fmla="*/ 801 w 1736"/>
                  <a:gd name="T33" fmla="*/ 46 h 2499"/>
                  <a:gd name="T34" fmla="*/ 693 w 1736"/>
                  <a:gd name="T35" fmla="*/ 76 h 2499"/>
                  <a:gd name="T36" fmla="*/ 593 w 1736"/>
                  <a:gd name="T37" fmla="*/ 122 h 2499"/>
                  <a:gd name="T38" fmla="*/ 500 w 1736"/>
                  <a:gd name="T39" fmla="*/ 180 h 2499"/>
                  <a:gd name="T40" fmla="*/ 419 w 1736"/>
                  <a:gd name="T41" fmla="*/ 252 h 2499"/>
                  <a:gd name="T42" fmla="*/ 349 w 1736"/>
                  <a:gd name="T43" fmla="*/ 334 h 2499"/>
                  <a:gd name="T44" fmla="*/ 289 w 1736"/>
                  <a:gd name="T45" fmla="*/ 424 h 2499"/>
                  <a:gd name="T46" fmla="*/ 243 w 1736"/>
                  <a:gd name="T47" fmla="*/ 526 h 2499"/>
                  <a:gd name="T48" fmla="*/ 213 w 1736"/>
                  <a:gd name="T49" fmla="*/ 632 h 2499"/>
                  <a:gd name="T50" fmla="*/ 198 w 1736"/>
                  <a:gd name="T51" fmla="*/ 745 h 2499"/>
                  <a:gd name="T52" fmla="*/ 197 w 1736"/>
                  <a:gd name="T53" fmla="*/ 882 h 2499"/>
                  <a:gd name="T54" fmla="*/ 265 w 1736"/>
                  <a:gd name="T55" fmla="*/ 1845 h 2499"/>
                  <a:gd name="T56" fmla="*/ 658 w 1736"/>
                  <a:gd name="T57" fmla="*/ 2188 h 2499"/>
                  <a:gd name="T58" fmla="*/ 198 w 1736"/>
                  <a:gd name="T59" fmla="*/ 1391 h 2499"/>
                  <a:gd name="T60" fmla="*/ 167 w 1736"/>
                  <a:gd name="T61" fmla="*/ 784 h 2499"/>
                  <a:gd name="T62" fmla="*/ 172 w 1736"/>
                  <a:gd name="T63" fmla="*/ 704 h 2499"/>
                  <a:gd name="T64" fmla="*/ 193 w 1736"/>
                  <a:gd name="T65" fmla="*/ 589 h 2499"/>
                  <a:gd name="T66" fmla="*/ 230 w 1736"/>
                  <a:gd name="T67" fmla="*/ 480 h 2499"/>
                  <a:gd name="T68" fmla="*/ 282 w 1736"/>
                  <a:gd name="T69" fmla="*/ 378 h 2499"/>
                  <a:gd name="T70" fmla="*/ 347 w 1736"/>
                  <a:gd name="T71" fmla="*/ 285 h 2499"/>
                  <a:gd name="T72" fmla="*/ 424 w 1736"/>
                  <a:gd name="T73" fmla="*/ 204 h 2499"/>
                  <a:gd name="T74" fmla="*/ 513 w 1736"/>
                  <a:gd name="T75" fmla="*/ 133 h 2499"/>
                  <a:gd name="T76" fmla="*/ 612 w 1736"/>
                  <a:gd name="T77" fmla="*/ 78 h 2499"/>
                  <a:gd name="T78" fmla="*/ 719 w 1736"/>
                  <a:gd name="T79" fmla="*/ 35 h 2499"/>
                  <a:gd name="T80" fmla="*/ 832 w 1736"/>
                  <a:gd name="T81" fmla="*/ 9 h 2499"/>
                  <a:gd name="T82" fmla="*/ 953 w 1736"/>
                  <a:gd name="T83" fmla="*/ 0 h 2499"/>
                  <a:gd name="T84" fmla="*/ 1032 w 1736"/>
                  <a:gd name="T85" fmla="*/ 4 h 2499"/>
                  <a:gd name="T86" fmla="*/ 1147 w 1736"/>
                  <a:gd name="T87" fmla="*/ 24 h 2499"/>
                  <a:gd name="T88" fmla="*/ 1256 w 1736"/>
                  <a:gd name="T89" fmla="*/ 61 h 2499"/>
                  <a:gd name="T90" fmla="*/ 1358 w 1736"/>
                  <a:gd name="T91" fmla="*/ 113 h 2499"/>
                  <a:gd name="T92" fmla="*/ 1451 w 1736"/>
                  <a:gd name="T93" fmla="*/ 180 h 2499"/>
                  <a:gd name="T94" fmla="*/ 1532 w 1736"/>
                  <a:gd name="T95" fmla="*/ 258 h 2499"/>
                  <a:gd name="T96" fmla="*/ 1601 w 1736"/>
                  <a:gd name="T97" fmla="*/ 346 h 2499"/>
                  <a:gd name="T98" fmla="*/ 1658 w 1736"/>
                  <a:gd name="T99" fmla="*/ 445 h 2499"/>
                  <a:gd name="T100" fmla="*/ 1701 w 1736"/>
                  <a:gd name="T101" fmla="*/ 552 h 2499"/>
                  <a:gd name="T102" fmla="*/ 1727 w 1736"/>
                  <a:gd name="T103" fmla="*/ 665 h 2499"/>
                  <a:gd name="T104" fmla="*/ 1736 w 1736"/>
                  <a:gd name="T105" fmla="*/ 784 h 2499"/>
                  <a:gd name="T106" fmla="*/ 1733 w 1736"/>
                  <a:gd name="T107" fmla="*/ 849 h 2499"/>
                  <a:gd name="T108" fmla="*/ 1720 w 1736"/>
                  <a:gd name="T109" fmla="*/ 945 h 2499"/>
                  <a:gd name="T110" fmla="*/ 1694 w 1736"/>
                  <a:gd name="T111" fmla="*/ 1038 h 2499"/>
                  <a:gd name="T112" fmla="*/ 1625 w 1736"/>
                  <a:gd name="T113" fmla="*/ 2499 h 24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736" h="2499">
                    <a:moveTo>
                      <a:pt x="1625" y="2499"/>
                    </a:moveTo>
                    <a:lnTo>
                      <a:pt x="1484" y="1603"/>
                    </a:lnTo>
                    <a:lnTo>
                      <a:pt x="1484" y="1601"/>
                    </a:lnTo>
                    <a:lnTo>
                      <a:pt x="1664" y="1028"/>
                    </a:lnTo>
                    <a:lnTo>
                      <a:pt x="1664" y="1028"/>
                    </a:lnTo>
                    <a:lnTo>
                      <a:pt x="1675" y="999"/>
                    </a:lnTo>
                    <a:lnTo>
                      <a:pt x="1683" y="969"/>
                    </a:lnTo>
                    <a:lnTo>
                      <a:pt x="1690" y="939"/>
                    </a:lnTo>
                    <a:lnTo>
                      <a:pt x="1696" y="908"/>
                    </a:lnTo>
                    <a:lnTo>
                      <a:pt x="1699" y="878"/>
                    </a:lnTo>
                    <a:lnTo>
                      <a:pt x="1703" y="847"/>
                    </a:lnTo>
                    <a:lnTo>
                      <a:pt x="1705" y="815"/>
                    </a:lnTo>
                    <a:lnTo>
                      <a:pt x="1705" y="784"/>
                    </a:lnTo>
                    <a:lnTo>
                      <a:pt x="1705" y="784"/>
                    </a:lnTo>
                    <a:lnTo>
                      <a:pt x="1705" y="745"/>
                    </a:lnTo>
                    <a:lnTo>
                      <a:pt x="1701" y="708"/>
                    </a:lnTo>
                    <a:lnTo>
                      <a:pt x="1697" y="669"/>
                    </a:lnTo>
                    <a:lnTo>
                      <a:pt x="1690" y="632"/>
                    </a:lnTo>
                    <a:lnTo>
                      <a:pt x="1683" y="597"/>
                    </a:lnTo>
                    <a:lnTo>
                      <a:pt x="1671" y="560"/>
                    </a:lnTo>
                    <a:lnTo>
                      <a:pt x="1660" y="526"/>
                    </a:lnTo>
                    <a:lnTo>
                      <a:pt x="1645" y="491"/>
                    </a:lnTo>
                    <a:lnTo>
                      <a:pt x="1631" y="458"/>
                    </a:lnTo>
                    <a:lnTo>
                      <a:pt x="1614" y="424"/>
                    </a:lnTo>
                    <a:lnTo>
                      <a:pt x="1595" y="393"/>
                    </a:lnTo>
                    <a:lnTo>
                      <a:pt x="1577" y="363"/>
                    </a:lnTo>
                    <a:lnTo>
                      <a:pt x="1555" y="334"/>
                    </a:lnTo>
                    <a:lnTo>
                      <a:pt x="1532" y="306"/>
                    </a:lnTo>
                    <a:lnTo>
                      <a:pt x="1510" y="278"/>
                    </a:lnTo>
                    <a:lnTo>
                      <a:pt x="1484" y="252"/>
                    </a:lnTo>
                    <a:lnTo>
                      <a:pt x="1458" y="226"/>
                    </a:lnTo>
                    <a:lnTo>
                      <a:pt x="1431" y="202"/>
                    </a:lnTo>
                    <a:lnTo>
                      <a:pt x="1403" y="180"/>
                    </a:lnTo>
                    <a:lnTo>
                      <a:pt x="1373" y="159"/>
                    </a:lnTo>
                    <a:lnTo>
                      <a:pt x="1342" y="139"/>
                    </a:lnTo>
                    <a:lnTo>
                      <a:pt x="1310" y="122"/>
                    </a:lnTo>
                    <a:lnTo>
                      <a:pt x="1279" y="106"/>
                    </a:lnTo>
                    <a:lnTo>
                      <a:pt x="1245" y="89"/>
                    </a:lnTo>
                    <a:lnTo>
                      <a:pt x="1210" y="76"/>
                    </a:lnTo>
                    <a:lnTo>
                      <a:pt x="1175" y="65"/>
                    </a:lnTo>
                    <a:lnTo>
                      <a:pt x="1140" y="54"/>
                    </a:lnTo>
                    <a:lnTo>
                      <a:pt x="1103" y="46"/>
                    </a:lnTo>
                    <a:lnTo>
                      <a:pt x="1066" y="39"/>
                    </a:lnTo>
                    <a:lnTo>
                      <a:pt x="1028" y="35"/>
                    </a:lnTo>
                    <a:lnTo>
                      <a:pt x="990" y="32"/>
                    </a:lnTo>
                    <a:lnTo>
                      <a:pt x="953" y="30"/>
                    </a:lnTo>
                    <a:lnTo>
                      <a:pt x="953" y="30"/>
                    </a:lnTo>
                    <a:lnTo>
                      <a:pt x="914" y="32"/>
                    </a:lnTo>
                    <a:lnTo>
                      <a:pt x="875" y="35"/>
                    </a:lnTo>
                    <a:lnTo>
                      <a:pt x="838" y="39"/>
                    </a:lnTo>
                    <a:lnTo>
                      <a:pt x="801" y="46"/>
                    </a:lnTo>
                    <a:lnTo>
                      <a:pt x="764" y="54"/>
                    </a:lnTo>
                    <a:lnTo>
                      <a:pt x="728" y="65"/>
                    </a:lnTo>
                    <a:lnTo>
                      <a:pt x="693" y="76"/>
                    </a:lnTo>
                    <a:lnTo>
                      <a:pt x="658" y="89"/>
                    </a:lnTo>
                    <a:lnTo>
                      <a:pt x="625" y="106"/>
                    </a:lnTo>
                    <a:lnTo>
                      <a:pt x="593" y="122"/>
                    </a:lnTo>
                    <a:lnTo>
                      <a:pt x="562" y="139"/>
                    </a:lnTo>
                    <a:lnTo>
                      <a:pt x="530" y="159"/>
                    </a:lnTo>
                    <a:lnTo>
                      <a:pt x="500" y="180"/>
                    </a:lnTo>
                    <a:lnTo>
                      <a:pt x="473" y="202"/>
                    </a:lnTo>
                    <a:lnTo>
                      <a:pt x="445" y="226"/>
                    </a:lnTo>
                    <a:lnTo>
                      <a:pt x="419" y="252"/>
                    </a:lnTo>
                    <a:lnTo>
                      <a:pt x="395" y="278"/>
                    </a:lnTo>
                    <a:lnTo>
                      <a:pt x="371" y="306"/>
                    </a:lnTo>
                    <a:lnTo>
                      <a:pt x="349" y="334"/>
                    </a:lnTo>
                    <a:lnTo>
                      <a:pt x="326" y="363"/>
                    </a:lnTo>
                    <a:lnTo>
                      <a:pt x="308" y="393"/>
                    </a:lnTo>
                    <a:lnTo>
                      <a:pt x="289" y="424"/>
                    </a:lnTo>
                    <a:lnTo>
                      <a:pt x="273" y="458"/>
                    </a:lnTo>
                    <a:lnTo>
                      <a:pt x="258" y="491"/>
                    </a:lnTo>
                    <a:lnTo>
                      <a:pt x="243" y="526"/>
                    </a:lnTo>
                    <a:lnTo>
                      <a:pt x="232" y="560"/>
                    </a:lnTo>
                    <a:lnTo>
                      <a:pt x="223" y="597"/>
                    </a:lnTo>
                    <a:lnTo>
                      <a:pt x="213" y="632"/>
                    </a:lnTo>
                    <a:lnTo>
                      <a:pt x="206" y="669"/>
                    </a:lnTo>
                    <a:lnTo>
                      <a:pt x="202" y="708"/>
                    </a:lnTo>
                    <a:lnTo>
                      <a:pt x="198" y="745"/>
                    </a:lnTo>
                    <a:lnTo>
                      <a:pt x="198" y="784"/>
                    </a:lnTo>
                    <a:lnTo>
                      <a:pt x="197" y="878"/>
                    </a:lnTo>
                    <a:lnTo>
                      <a:pt x="197" y="882"/>
                    </a:lnTo>
                    <a:lnTo>
                      <a:pt x="41" y="1360"/>
                    </a:lnTo>
                    <a:lnTo>
                      <a:pt x="226" y="1360"/>
                    </a:lnTo>
                    <a:lnTo>
                      <a:pt x="265" y="1845"/>
                    </a:lnTo>
                    <a:lnTo>
                      <a:pt x="632" y="1801"/>
                    </a:lnTo>
                    <a:lnTo>
                      <a:pt x="688" y="2183"/>
                    </a:lnTo>
                    <a:lnTo>
                      <a:pt x="658" y="2188"/>
                    </a:lnTo>
                    <a:lnTo>
                      <a:pt x="606" y="1834"/>
                    </a:lnTo>
                    <a:lnTo>
                      <a:pt x="237" y="1879"/>
                    </a:lnTo>
                    <a:lnTo>
                      <a:pt x="198" y="1391"/>
                    </a:lnTo>
                    <a:lnTo>
                      <a:pt x="0" y="1391"/>
                    </a:lnTo>
                    <a:lnTo>
                      <a:pt x="167" y="875"/>
                    </a:lnTo>
                    <a:lnTo>
                      <a:pt x="167" y="784"/>
                    </a:lnTo>
                    <a:lnTo>
                      <a:pt x="167" y="784"/>
                    </a:lnTo>
                    <a:lnTo>
                      <a:pt x="169" y="743"/>
                    </a:lnTo>
                    <a:lnTo>
                      <a:pt x="172" y="704"/>
                    </a:lnTo>
                    <a:lnTo>
                      <a:pt x="176" y="665"/>
                    </a:lnTo>
                    <a:lnTo>
                      <a:pt x="184" y="626"/>
                    </a:lnTo>
                    <a:lnTo>
                      <a:pt x="193" y="589"/>
                    </a:lnTo>
                    <a:lnTo>
                      <a:pt x="202" y="552"/>
                    </a:lnTo>
                    <a:lnTo>
                      <a:pt x="215" y="515"/>
                    </a:lnTo>
                    <a:lnTo>
                      <a:pt x="230" y="480"/>
                    </a:lnTo>
                    <a:lnTo>
                      <a:pt x="245" y="445"/>
                    </a:lnTo>
                    <a:lnTo>
                      <a:pt x="263" y="411"/>
                    </a:lnTo>
                    <a:lnTo>
                      <a:pt x="282" y="378"/>
                    </a:lnTo>
                    <a:lnTo>
                      <a:pt x="302" y="346"/>
                    </a:lnTo>
                    <a:lnTo>
                      <a:pt x="324" y="315"/>
                    </a:lnTo>
                    <a:lnTo>
                      <a:pt x="347" y="285"/>
                    </a:lnTo>
                    <a:lnTo>
                      <a:pt x="371" y="258"/>
                    </a:lnTo>
                    <a:lnTo>
                      <a:pt x="397" y="230"/>
                    </a:lnTo>
                    <a:lnTo>
                      <a:pt x="424" y="204"/>
                    </a:lnTo>
                    <a:lnTo>
                      <a:pt x="454" y="180"/>
                    </a:lnTo>
                    <a:lnTo>
                      <a:pt x="484" y="156"/>
                    </a:lnTo>
                    <a:lnTo>
                      <a:pt x="513" y="133"/>
                    </a:lnTo>
                    <a:lnTo>
                      <a:pt x="545" y="113"/>
                    </a:lnTo>
                    <a:lnTo>
                      <a:pt x="578" y="95"/>
                    </a:lnTo>
                    <a:lnTo>
                      <a:pt x="612" y="78"/>
                    </a:lnTo>
                    <a:lnTo>
                      <a:pt x="647" y="61"/>
                    </a:lnTo>
                    <a:lnTo>
                      <a:pt x="682" y="48"/>
                    </a:lnTo>
                    <a:lnTo>
                      <a:pt x="719" y="35"/>
                    </a:lnTo>
                    <a:lnTo>
                      <a:pt x="756" y="24"/>
                    </a:lnTo>
                    <a:lnTo>
                      <a:pt x="793" y="17"/>
                    </a:lnTo>
                    <a:lnTo>
                      <a:pt x="832" y="9"/>
                    </a:lnTo>
                    <a:lnTo>
                      <a:pt x="871" y="4"/>
                    </a:lnTo>
                    <a:lnTo>
                      <a:pt x="912" y="2"/>
                    </a:lnTo>
                    <a:lnTo>
                      <a:pt x="953" y="0"/>
                    </a:lnTo>
                    <a:lnTo>
                      <a:pt x="953" y="0"/>
                    </a:lnTo>
                    <a:lnTo>
                      <a:pt x="991" y="2"/>
                    </a:lnTo>
                    <a:lnTo>
                      <a:pt x="1032" y="4"/>
                    </a:lnTo>
                    <a:lnTo>
                      <a:pt x="1071" y="9"/>
                    </a:lnTo>
                    <a:lnTo>
                      <a:pt x="1110" y="17"/>
                    </a:lnTo>
                    <a:lnTo>
                      <a:pt x="1147" y="24"/>
                    </a:lnTo>
                    <a:lnTo>
                      <a:pt x="1184" y="35"/>
                    </a:lnTo>
                    <a:lnTo>
                      <a:pt x="1221" y="48"/>
                    </a:lnTo>
                    <a:lnTo>
                      <a:pt x="1256" y="61"/>
                    </a:lnTo>
                    <a:lnTo>
                      <a:pt x="1292" y="78"/>
                    </a:lnTo>
                    <a:lnTo>
                      <a:pt x="1325" y="95"/>
                    </a:lnTo>
                    <a:lnTo>
                      <a:pt x="1358" y="113"/>
                    </a:lnTo>
                    <a:lnTo>
                      <a:pt x="1390" y="133"/>
                    </a:lnTo>
                    <a:lnTo>
                      <a:pt x="1421" y="156"/>
                    </a:lnTo>
                    <a:lnTo>
                      <a:pt x="1451" y="180"/>
                    </a:lnTo>
                    <a:lnTo>
                      <a:pt x="1479" y="204"/>
                    </a:lnTo>
                    <a:lnTo>
                      <a:pt x="1507" y="230"/>
                    </a:lnTo>
                    <a:lnTo>
                      <a:pt x="1532" y="258"/>
                    </a:lnTo>
                    <a:lnTo>
                      <a:pt x="1557" y="285"/>
                    </a:lnTo>
                    <a:lnTo>
                      <a:pt x="1581" y="315"/>
                    </a:lnTo>
                    <a:lnTo>
                      <a:pt x="1601" y="346"/>
                    </a:lnTo>
                    <a:lnTo>
                      <a:pt x="1621" y="378"/>
                    </a:lnTo>
                    <a:lnTo>
                      <a:pt x="1642" y="411"/>
                    </a:lnTo>
                    <a:lnTo>
                      <a:pt x="1658" y="445"/>
                    </a:lnTo>
                    <a:lnTo>
                      <a:pt x="1673" y="480"/>
                    </a:lnTo>
                    <a:lnTo>
                      <a:pt x="1688" y="515"/>
                    </a:lnTo>
                    <a:lnTo>
                      <a:pt x="1701" y="552"/>
                    </a:lnTo>
                    <a:lnTo>
                      <a:pt x="1710" y="589"/>
                    </a:lnTo>
                    <a:lnTo>
                      <a:pt x="1720" y="626"/>
                    </a:lnTo>
                    <a:lnTo>
                      <a:pt x="1727" y="665"/>
                    </a:lnTo>
                    <a:lnTo>
                      <a:pt x="1733" y="704"/>
                    </a:lnTo>
                    <a:lnTo>
                      <a:pt x="1734" y="745"/>
                    </a:lnTo>
                    <a:lnTo>
                      <a:pt x="1736" y="784"/>
                    </a:lnTo>
                    <a:lnTo>
                      <a:pt x="1736" y="784"/>
                    </a:lnTo>
                    <a:lnTo>
                      <a:pt x="1734" y="817"/>
                    </a:lnTo>
                    <a:lnTo>
                      <a:pt x="1733" y="849"/>
                    </a:lnTo>
                    <a:lnTo>
                      <a:pt x="1731" y="882"/>
                    </a:lnTo>
                    <a:lnTo>
                      <a:pt x="1725" y="913"/>
                    </a:lnTo>
                    <a:lnTo>
                      <a:pt x="1720" y="945"/>
                    </a:lnTo>
                    <a:lnTo>
                      <a:pt x="1712" y="976"/>
                    </a:lnTo>
                    <a:lnTo>
                      <a:pt x="1703" y="1008"/>
                    </a:lnTo>
                    <a:lnTo>
                      <a:pt x="1694" y="1038"/>
                    </a:lnTo>
                    <a:lnTo>
                      <a:pt x="1516" y="1604"/>
                    </a:lnTo>
                    <a:lnTo>
                      <a:pt x="1657" y="2494"/>
                    </a:lnTo>
                    <a:lnTo>
                      <a:pt x="1625" y="249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1884EB90-856A-4B3D-8C41-380E81E27851}"/>
                  </a:ext>
                </a:extLst>
              </p:cNvPr>
              <p:cNvGrpSpPr/>
              <p:nvPr/>
            </p:nvGrpSpPr>
            <p:grpSpPr>
              <a:xfrm>
                <a:off x="6207989" y="2521241"/>
                <a:ext cx="1833563" cy="3140075"/>
                <a:chOff x="7651751" y="2178051"/>
                <a:chExt cx="1833563" cy="3140075"/>
              </a:xfrm>
            </p:grpSpPr>
            <p:sp>
              <p:nvSpPr>
                <p:cNvPr id="9" name="Rectangle 8">
                  <a:extLst>
                    <a:ext uri="{FF2B5EF4-FFF2-40B4-BE49-F238E27FC236}">
                      <a16:creationId xmlns:a16="http://schemas.microsoft.com/office/drawing/2014/main" id="{5FF9FA55-6F13-46E9-B9A9-A10B60C42CD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475163"/>
                  <a:ext cx="49213" cy="46038"/>
                </a:xfrm>
                <a:prstGeom prst="rect">
                  <a:avLst/>
                </a:prstGeom>
                <a:solidFill>
                  <a:srgbClr val="52585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0" name="Rectangle 9">
                  <a:extLst>
                    <a:ext uri="{FF2B5EF4-FFF2-40B4-BE49-F238E27FC236}">
                      <a16:creationId xmlns:a16="http://schemas.microsoft.com/office/drawing/2014/main" id="{5E05CB57-E35B-471D-BA9D-6AE183DE802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575176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1" name="Rectangle 10">
                  <a:extLst>
                    <a:ext uri="{FF2B5EF4-FFF2-40B4-BE49-F238E27FC236}">
                      <a16:creationId xmlns:a16="http://schemas.microsoft.com/office/drawing/2014/main" id="{917B6F65-886C-4190-9FA3-150088DB411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675188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2" name="Rectangle 11">
                  <a:extLst>
                    <a:ext uri="{FF2B5EF4-FFF2-40B4-BE49-F238E27FC236}">
                      <a16:creationId xmlns:a16="http://schemas.microsoft.com/office/drawing/2014/main" id="{D04EF3EF-7492-4924-B3E4-4CB85BE2936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775201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3" name="Rectangle 12">
                  <a:extLst>
                    <a:ext uri="{FF2B5EF4-FFF2-40B4-BE49-F238E27FC236}">
                      <a16:creationId xmlns:a16="http://schemas.microsoft.com/office/drawing/2014/main" id="{DB852891-76E9-4DE8-99BB-C456338C691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872038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4" name="Rectangle 13">
                  <a:extLst>
                    <a:ext uri="{FF2B5EF4-FFF2-40B4-BE49-F238E27FC236}">
                      <a16:creationId xmlns:a16="http://schemas.microsoft.com/office/drawing/2014/main" id="{76F966E4-BDBB-4EA2-AF2B-CE2D055C5C0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972051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5" name="Rectangle 14">
                  <a:extLst>
                    <a:ext uri="{FF2B5EF4-FFF2-40B4-BE49-F238E27FC236}">
                      <a16:creationId xmlns:a16="http://schemas.microsoft.com/office/drawing/2014/main" id="{47D17988-145F-4083-A8C8-26E7E72E0F0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5072063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id="{6132E3B0-8425-460B-B1F1-FCACFFD24B4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5172076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7" name="Rectangle 16">
                  <a:extLst>
                    <a:ext uri="{FF2B5EF4-FFF2-40B4-BE49-F238E27FC236}">
                      <a16:creationId xmlns:a16="http://schemas.microsoft.com/office/drawing/2014/main" id="{389052EF-3A92-42FF-A8F5-AE5C61CDE12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5272088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8" name="Freeform 240">
                  <a:extLst>
                    <a:ext uri="{FF2B5EF4-FFF2-40B4-BE49-F238E27FC236}">
                      <a16:creationId xmlns:a16="http://schemas.microsoft.com/office/drawing/2014/main" id="{2C35CD08-6BC0-4B8B-B687-87817D9AA0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81938" y="2409826"/>
                  <a:ext cx="1373188" cy="1693863"/>
                </a:xfrm>
                <a:custGeom>
                  <a:avLst/>
                  <a:gdLst>
                    <a:gd name="T0" fmla="*/ 434 w 865"/>
                    <a:gd name="T1" fmla="*/ 0 h 1067"/>
                    <a:gd name="T2" fmla="*/ 389 w 865"/>
                    <a:gd name="T3" fmla="*/ 2 h 1067"/>
                    <a:gd name="T4" fmla="*/ 304 w 865"/>
                    <a:gd name="T5" fmla="*/ 19 h 1067"/>
                    <a:gd name="T6" fmla="*/ 226 w 865"/>
                    <a:gd name="T7" fmla="*/ 52 h 1067"/>
                    <a:gd name="T8" fmla="*/ 157 w 865"/>
                    <a:gd name="T9" fmla="*/ 98 h 1067"/>
                    <a:gd name="T10" fmla="*/ 98 w 865"/>
                    <a:gd name="T11" fmla="*/ 158 h 1067"/>
                    <a:gd name="T12" fmla="*/ 52 w 865"/>
                    <a:gd name="T13" fmla="*/ 226 h 1067"/>
                    <a:gd name="T14" fmla="*/ 20 w 865"/>
                    <a:gd name="T15" fmla="*/ 304 h 1067"/>
                    <a:gd name="T16" fmla="*/ 2 w 865"/>
                    <a:gd name="T17" fmla="*/ 387 h 1067"/>
                    <a:gd name="T18" fmla="*/ 0 w 865"/>
                    <a:gd name="T19" fmla="*/ 432 h 1067"/>
                    <a:gd name="T20" fmla="*/ 0 w 865"/>
                    <a:gd name="T21" fmla="*/ 456 h 1067"/>
                    <a:gd name="T22" fmla="*/ 6 w 865"/>
                    <a:gd name="T23" fmla="*/ 502 h 1067"/>
                    <a:gd name="T24" fmla="*/ 15 w 865"/>
                    <a:gd name="T25" fmla="*/ 547 h 1067"/>
                    <a:gd name="T26" fmla="*/ 30 w 865"/>
                    <a:gd name="T27" fmla="*/ 589 h 1067"/>
                    <a:gd name="T28" fmla="*/ 48 w 865"/>
                    <a:gd name="T29" fmla="*/ 630 h 1067"/>
                    <a:gd name="T30" fmla="*/ 70 w 865"/>
                    <a:gd name="T31" fmla="*/ 669 h 1067"/>
                    <a:gd name="T32" fmla="*/ 96 w 865"/>
                    <a:gd name="T33" fmla="*/ 704 h 1067"/>
                    <a:gd name="T34" fmla="*/ 141 w 865"/>
                    <a:gd name="T35" fmla="*/ 752 h 1067"/>
                    <a:gd name="T36" fmla="*/ 154 w 865"/>
                    <a:gd name="T37" fmla="*/ 763 h 1067"/>
                    <a:gd name="T38" fmla="*/ 178 w 865"/>
                    <a:gd name="T39" fmla="*/ 787 h 1067"/>
                    <a:gd name="T40" fmla="*/ 219 w 865"/>
                    <a:gd name="T41" fmla="*/ 843 h 1067"/>
                    <a:gd name="T42" fmla="*/ 246 w 865"/>
                    <a:gd name="T43" fmla="*/ 906 h 1067"/>
                    <a:gd name="T44" fmla="*/ 261 w 865"/>
                    <a:gd name="T45" fmla="*/ 975 h 1067"/>
                    <a:gd name="T46" fmla="*/ 263 w 865"/>
                    <a:gd name="T47" fmla="*/ 1067 h 1067"/>
                    <a:gd name="T48" fmla="*/ 602 w 865"/>
                    <a:gd name="T49" fmla="*/ 1067 h 1067"/>
                    <a:gd name="T50" fmla="*/ 602 w 865"/>
                    <a:gd name="T51" fmla="*/ 1012 h 1067"/>
                    <a:gd name="T52" fmla="*/ 610 w 865"/>
                    <a:gd name="T53" fmla="*/ 939 h 1067"/>
                    <a:gd name="T54" fmla="*/ 632 w 865"/>
                    <a:gd name="T55" fmla="*/ 873 h 1067"/>
                    <a:gd name="T56" fmla="*/ 667 w 865"/>
                    <a:gd name="T57" fmla="*/ 813 h 1067"/>
                    <a:gd name="T58" fmla="*/ 711 w 865"/>
                    <a:gd name="T59" fmla="*/ 763 h 1067"/>
                    <a:gd name="T60" fmla="*/ 724 w 865"/>
                    <a:gd name="T61" fmla="*/ 752 h 1067"/>
                    <a:gd name="T62" fmla="*/ 756 w 865"/>
                    <a:gd name="T63" fmla="*/ 721 h 1067"/>
                    <a:gd name="T64" fmla="*/ 784 w 865"/>
                    <a:gd name="T65" fmla="*/ 686 h 1067"/>
                    <a:gd name="T66" fmla="*/ 808 w 865"/>
                    <a:gd name="T67" fmla="*/ 648 h 1067"/>
                    <a:gd name="T68" fmla="*/ 828 w 865"/>
                    <a:gd name="T69" fmla="*/ 610 h 1067"/>
                    <a:gd name="T70" fmla="*/ 843 w 865"/>
                    <a:gd name="T71" fmla="*/ 569 h 1067"/>
                    <a:gd name="T72" fmla="*/ 856 w 865"/>
                    <a:gd name="T73" fmla="*/ 524 h 1067"/>
                    <a:gd name="T74" fmla="*/ 863 w 865"/>
                    <a:gd name="T75" fmla="*/ 480 h 1067"/>
                    <a:gd name="T76" fmla="*/ 865 w 865"/>
                    <a:gd name="T77" fmla="*/ 432 h 1067"/>
                    <a:gd name="T78" fmla="*/ 865 w 865"/>
                    <a:gd name="T79" fmla="*/ 409 h 1067"/>
                    <a:gd name="T80" fmla="*/ 856 w 865"/>
                    <a:gd name="T81" fmla="*/ 345 h 1067"/>
                    <a:gd name="T82" fmla="*/ 832 w 865"/>
                    <a:gd name="T83" fmla="*/ 263 h 1067"/>
                    <a:gd name="T84" fmla="*/ 791 w 865"/>
                    <a:gd name="T85" fmla="*/ 191 h 1067"/>
                    <a:gd name="T86" fmla="*/ 739 w 865"/>
                    <a:gd name="T87" fmla="*/ 126 h 1067"/>
                    <a:gd name="T88" fmla="*/ 674 w 865"/>
                    <a:gd name="T89" fmla="*/ 74 h 1067"/>
                    <a:gd name="T90" fmla="*/ 600 w 865"/>
                    <a:gd name="T91" fmla="*/ 33 h 1067"/>
                    <a:gd name="T92" fmla="*/ 521 w 865"/>
                    <a:gd name="T93" fmla="*/ 7 h 1067"/>
                    <a:gd name="T94" fmla="*/ 456 w 865"/>
                    <a:gd name="T95" fmla="*/ 0 h 1067"/>
                    <a:gd name="T96" fmla="*/ 434 w 865"/>
                    <a:gd name="T97" fmla="*/ 0 h 10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865" h="1067">
                      <a:moveTo>
                        <a:pt x="434" y="0"/>
                      </a:moveTo>
                      <a:lnTo>
                        <a:pt x="434" y="0"/>
                      </a:lnTo>
                      <a:lnTo>
                        <a:pt x="411" y="0"/>
                      </a:lnTo>
                      <a:lnTo>
                        <a:pt x="389" y="2"/>
                      </a:lnTo>
                      <a:lnTo>
                        <a:pt x="345" y="7"/>
                      </a:lnTo>
                      <a:lnTo>
                        <a:pt x="304" y="19"/>
                      </a:lnTo>
                      <a:lnTo>
                        <a:pt x="265" y="33"/>
                      </a:lnTo>
                      <a:lnTo>
                        <a:pt x="226" y="52"/>
                      </a:lnTo>
                      <a:lnTo>
                        <a:pt x="191" y="74"/>
                      </a:lnTo>
                      <a:lnTo>
                        <a:pt x="157" y="98"/>
                      </a:lnTo>
                      <a:lnTo>
                        <a:pt x="126" y="126"/>
                      </a:lnTo>
                      <a:lnTo>
                        <a:pt x="98" y="158"/>
                      </a:lnTo>
                      <a:lnTo>
                        <a:pt x="74" y="191"/>
                      </a:lnTo>
                      <a:lnTo>
                        <a:pt x="52" y="226"/>
                      </a:lnTo>
                      <a:lnTo>
                        <a:pt x="33" y="263"/>
                      </a:lnTo>
                      <a:lnTo>
                        <a:pt x="20" y="304"/>
                      </a:lnTo>
                      <a:lnTo>
                        <a:pt x="9" y="345"/>
                      </a:lnTo>
                      <a:lnTo>
                        <a:pt x="2" y="387"/>
                      </a:lnTo>
                      <a:lnTo>
                        <a:pt x="0" y="409"/>
                      </a:lnTo>
                      <a:lnTo>
                        <a:pt x="0" y="432"/>
                      </a:lnTo>
                      <a:lnTo>
                        <a:pt x="0" y="432"/>
                      </a:lnTo>
                      <a:lnTo>
                        <a:pt x="0" y="456"/>
                      </a:lnTo>
                      <a:lnTo>
                        <a:pt x="2" y="480"/>
                      </a:lnTo>
                      <a:lnTo>
                        <a:pt x="6" y="502"/>
                      </a:lnTo>
                      <a:lnTo>
                        <a:pt x="9" y="524"/>
                      </a:lnTo>
                      <a:lnTo>
                        <a:pt x="15" y="547"/>
                      </a:lnTo>
                      <a:lnTo>
                        <a:pt x="22" y="569"/>
                      </a:lnTo>
                      <a:lnTo>
                        <a:pt x="30" y="589"/>
                      </a:lnTo>
                      <a:lnTo>
                        <a:pt x="39" y="610"/>
                      </a:lnTo>
                      <a:lnTo>
                        <a:pt x="48" y="630"/>
                      </a:lnTo>
                      <a:lnTo>
                        <a:pt x="59" y="648"/>
                      </a:lnTo>
                      <a:lnTo>
                        <a:pt x="70" y="669"/>
                      </a:lnTo>
                      <a:lnTo>
                        <a:pt x="83" y="686"/>
                      </a:lnTo>
                      <a:lnTo>
                        <a:pt x="96" y="704"/>
                      </a:lnTo>
                      <a:lnTo>
                        <a:pt x="109" y="721"/>
                      </a:lnTo>
                      <a:lnTo>
                        <a:pt x="141" y="752"/>
                      </a:lnTo>
                      <a:lnTo>
                        <a:pt x="141" y="752"/>
                      </a:lnTo>
                      <a:lnTo>
                        <a:pt x="154" y="763"/>
                      </a:lnTo>
                      <a:lnTo>
                        <a:pt x="154" y="763"/>
                      </a:lnTo>
                      <a:lnTo>
                        <a:pt x="178" y="787"/>
                      </a:lnTo>
                      <a:lnTo>
                        <a:pt x="200" y="813"/>
                      </a:lnTo>
                      <a:lnTo>
                        <a:pt x="219" y="843"/>
                      </a:lnTo>
                      <a:lnTo>
                        <a:pt x="233" y="873"/>
                      </a:lnTo>
                      <a:lnTo>
                        <a:pt x="246" y="906"/>
                      </a:lnTo>
                      <a:lnTo>
                        <a:pt x="256" y="939"/>
                      </a:lnTo>
                      <a:lnTo>
                        <a:pt x="261" y="975"/>
                      </a:lnTo>
                      <a:lnTo>
                        <a:pt x="263" y="1012"/>
                      </a:lnTo>
                      <a:lnTo>
                        <a:pt x="263" y="1067"/>
                      </a:lnTo>
                      <a:lnTo>
                        <a:pt x="434" y="1067"/>
                      </a:lnTo>
                      <a:lnTo>
                        <a:pt x="602" y="1067"/>
                      </a:lnTo>
                      <a:lnTo>
                        <a:pt x="602" y="1012"/>
                      </a:lnTo>
                      <a:lnTo>
                        <a:pt x="602" y="1012"/>
                      </a:lnTo>
                      <a:lnTo>
                        <a:pt x="604" y="975"/>
                      </a:lnTo>
                      <a:lnTo>
                        <a:pt x="610" y="939"/>
                      </a:lnTo>
                      <a:lnTo>
                        <a:pt x="619" y="906"/>
                      </a:lnTo>
                      <a:lnTo>
                        <a:pt x="632" y="873"/>
                      </a:lnTo>
                      <a:lnTo>
                        <a:pt x="647" y="843"/>
                      </a:lnTo>
                      <a:lnTo>
                        <a:pt x="667" y="813"/>
                      </a:lnTo>
                      <a:lnTo>
                        <a:pt x="687" y="787"/>
                      </a:lnTo>
                      <a:lnTo>
                        <a:pt x="711" y="763"/>
                      </a:lnTo>
                      <a:lnTo>
                        <a:pt x="711" y="763"/>
                      </a:lnTo>
                      <a:lnTo>
                        <a:pt x="724" y="752"/>
                      </a:lnTo>
                      <a:lnTo>
                        <a:pt x="724" y="752"/>
                      </a:lnTo>
                      <a:lnTo>
                        <a:pt x="756" y="721"/>
                      </a:lnTo>
                      <a:lnTo>
                        <a:pt x="769" y="704"/>
                      </a:lnTo>
                      <a:lnTo>
                        <a:pt x="784" y="686"/>
                      </a:lnTo>
                      <a:lnTo>
                        <a:pt x="795" y="669"/>
                      </a:lnTo>
                      <a:lnTo>
                        <a:pt x="808" y="648"/>
                      </a:lnTo>
                      <a:lnTo>
                        <a:pt x="817" y="630"/>
                      </a:lnTo>
                      <a:lnTo>
                        <a:pt x="828" y="610"/>
                      </a:lnTo>
                      <a:lnTo>
                        <a:pt x="836" y="589"/>
                      </a:lnTo>
                      <a:lnTo>
                        <a:pt x="843" y="569"/>
                      </a:lnTo>
                      <a:lnTo>
                        <a:pt x="850" y="547"/>
                      </a:lnTo>
                      <a:lnTo>
                        <a:pt x="856" y="524"/>
                      </a:lnTo>
                      <a:lnTo>
                        <a:pt x="860" y="502"/>
                      </a:lnTo>
                      <a:lnTo>
                        <a:pt x="863" y="480"/>
                      </a:lnTo>
                      <a:lnTo>
                        <a:pt x="865" y="456"/>
                      </a:lnTo>
                      <a:lnTo>
                        <a:pt x="865" y="432"/>
                      </a:lnTo>
                      <a:lnTo>
                        <a:pt x="865" y="432"/>
                      </a:lnTo>
                      <a:lnTo>
                        <a:pt x="865" y="409"/>
                      </a:lnTo>
                      <a:lnTo>
                        <a:pt x="863" y="387"/>
                      </a:lnTo>
                      <a:lnTo>
                        <a:pt x="856" y="345"/>
                      </a:lnTo>
                      <a:lnTo>
                        <a:pt x="847" y="304"/>
                      </a:lnTo>
                      <a:lnTo>
                        <a:pt x="832" y="263"/>
                      </a:lnTo>
                      <a:lnTo>
                        <a:pt x="813" y="226"/>
                      </a:lnTo>
                      <a:lnTo>
                        <a:pt x="791" y="191"/>
                      </a:lnTo>
                      <a:lnTo>
                        <a:pt x="767" y="158"/>
                      </a:lnTo>
                      <a:lnTo>
                        <a:pt x="739" y="126"/>
                      </a:lnTo>
                      <a:lnTo>
                        <a:pt x="708" y="98"/>
                      </a:lnTo>
                      <a:lnTo>
                        <a:pt x="674" y="74"/>
                      </a:lnTo>
                      <a:lnTo>
                        <a:pt x="639" y="52"/>
                      </a:lnTo>
                      <a:lnTo>
                        <a:pt x="600" y="33"/>
                      </a:lnTo>
                      <a:lnTo>
                        <a:pt x="561" y="19"/>
                      </a:lnTo>
                      <a:lnTo>
                        <a:pt x="521" y="7"/>
                      </a:lnTo>
                      <a:lnTo>
                        <a:pt x="476" y="2"/>
                      </a:lnTo>
                      <a:lnTo>
                        <a:pt x="456" y="0"/>
                      </a:lnTo>
                      <a:lnTo>
                        <a:pt x="434" y="0"/>
                      </a:lnTo>
                      <a:lnTo>
                        <a:pt x="434" y="0"/>
                      </a:lnTo>
                      <a:close/>
                    </a:path>
                  </a:pathLst>
                </a:custGeom>
                <a:solidFill>
                  <a:srgbClr val="FDD300"/>
                </a:solidFill>
                <a:ln w="222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9" name="Freeform 241">
                  <a:extLst>
                    <a:ext uri="{FF2B5EF4-FFF2-40B4-BE49-F238E27FC236}">
                      <a16:creationId xmlns:a16="http://schemas.microsoft.com/office/drawing/2014/main" id="{48363F46-C1B1-4332-8335-A2F8F0FAF7A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75638" y="4079876"/>
                  <a:ext cx="585788" cy="333375"/>
                </a:xfrm>
                <a:custGeom>
                  <a:avLst/>
                  <a:gdLst>
                    <a:gd name="T0" fmla="*/ 369 w 369"/>
                    <a:gd name="T1" fmla="*/ 210 h 210"/>
                    <a:gd name="T2" fmla="*/ 0 w 369"/>
                    <a:gd name="T3" fmla="*/ 210 h 210"/>
                    <a:gd name="T4" fmla="*/ 0 w 369"/>
                    <a:gd name="T5" fmla="*/ 0 h 210"/>
                    <a:gd name="T6" fmla="*/ 369 w 369"/>
                    <a:gd name="T7" fmla="*/ 0 h 210"/>
                    <a:gd name="T8" fmla="*/ 369 w 369"/>
                    <a:gd name="T9" fmla="*/ 210 h 210"/>
                    <a:gd name="T10" fmla="*/ 30 w 369"/>
                    <a:gd name="T11" fmla="*/ 180 h 210"/>
                    <a:gd name="T12" fmla="*/ 339 w 369"/>
                    <a:gd name="T13" fmla="*/ 180 h 210"/>
                    <a:gd name="T14" fmla="*/ 339 w 369"/>
                    <a:gd name="T15" fmla="*/ 32 h 210"/>
                    <a:gd name="T16" fmla="*/ 30 w 369"/>
                    <a:gd name="T17" fmla="*/ 32 h 210"/>
                    <a:gd name="T18" fmla="*/ 30 w 369"/>
                    <a:gd name="T19" fmla="*/ 180 h 2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69" h="210">
                      <a:moveTo>
                        <a:pt x="369" y="210"/>
                      </a:moveTo>
                      <a:lnTo>
                        <a:pt x="0" y="210"/>
                      </a:lnTo>
                      <a:lnTo>
                        <a:pt x="0" y="0"/>
                      </a:lnTo>
                      <a:lnTo>
                        <a:pt x="369" y="0"/>
                      </a:lnTo>
                      <a:lnTo>
                        <a:pt x="369" y="210"/>
                      </a:lnTo>
                      <a:close/>
                      <a:moveTo>
                        <a:pt x="30" y="180"/>
                      </a:moveTo>
                      <a:lnTo>
                        <a:pt x="339" y="180"/>
                      </a:lnTo>
                      <a:lnTo>
                        <a:pt x="339" y="32"/>
                      </a:lnTo>
                      <a:lnTo>
                        <a:pt x="30" y="32"/>
                      </a:lnTo>
                      <a:lnTo>
                        <a:pt x="30" y="18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0" name="Rectangle 19">
                  <a:extLst>
                    <a:ext uri="{FF2B5EF4-FFF2-40B4-BE49-F238E27FC236}">
                      <a16:creationId xmlns:a16="http://schemas.microsoft.com/office/drawing/2014/main" id="{44F504D5-7A7E-4ACC-BCF5-A92044FCFA7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079876"/>
                  <a:ext cx="638175" cy="50800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1" name="Rectangle 20">
                  <a:extLst>
                    <a:ext uri="{FF2B5EF4-FFF2-40B4-BE49-F238E27FC236}">
                      <a16:creationId xmlns:a16="http://schemas.microsoft.com/office/drawing/2014/main" id="{C1CBD50D-402F-4749-99F6-343DEE0C6B5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175126"/>
                  <a:ext cx="638175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2" name="Rectangle 21">
                  <a:extLst>
                    <a:ext uri="{FF2B5EF4-FFF2-40B4-BE49-F238E27FC236}">
                      <a16:creationId xmlns:a16="http://schemas.microsoft.com/office/drawing/2014/main" id="{AF44BB8C-3666-440F-AA8D-1F244442274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271963"/>
                  <a:ext cx="638175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3" name="Rectangle 22">
                  <a:extLst>
                    <a:ext uri="{FF2B5EF4-FFF2-40B4-BE49-F238E27FC236}">
                      <a16:creationId xmlns:a16="http://schemas.microsoft.com/office/drawing/2014/main" id="{E9F10FF6-3852-4486-BFA3-65DD08A32BF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365626"/>
                  <a:ext cx="638175" cy="47625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4" name="Freeform 246">
                  <a:extLst>
                    <a:ext uri="{FF2B5EF4-FFF2-40B4-BE49-F238E27FC236}">
                      <a16:creationId xmlns:a16="http://schemas.microsoft.com/office/drawing/2014/main" id="{FA179A60-74EB-4200-9514-9AD1B05F8A6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443913" y="4365626"/>
                  <a:ext cx="249238" cy="155575"/>
                </a:xfrm>
                <a:custGeom>
                  <a:avLst/>
                  <a:gdLst>
                    <a:gd name="T0" fmla="*/ 157 w 157"/>
                    <a:gd name="T1" fmla="*/ 98 h 98"/>
                    <a:gd name="T2" fmla="*/ 0 w 157"/>
                    <a:gd name="T3" fmla="*/ 98 h 98"/>
                    <a:gd name="T4" fmla="*/ 0 w 157"/>
                    <a:gd name="T5" fmla="*/ 0 h 98"/>
                    <a:gd name="T6" fmla="*/ 157 w 157"/>
                    <a:gd name="T7" fmla="*/ 0 h 98"/>
                    <a:gd name="T8" fmla="*/ 157 w 157"/>
                    <a:gd name="T9" fmla="*/ 98 h 98"/>
                    <a:gd name="T10" fmla="*/ 30 w 157"/>
                    <a:gd name="T11" fmla="*/ 69 h 98"/>
                    <a:gd name="T12" fmla="*/ 128 w 157"/>
                    <a:gd name="T13" fmla="*/ 69 h 98"/>
                    <a:gd name="T14" fmla="*/ 128 w 157"/>
                    <a:gd name="T15" fmla="*/ 30 h 98"/>
                    <a:gd name="T16" fmla="*/ 30 w 157"/>
                    <a:gd name="T17" fmla="*/ 30 h 98"/>
                    <a:gd name="T18" fmla="*/ 30 w 157"/>
                    <a:gd name="T19" fmla="*/ 69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57" h="98">
                      <a:moveTo>
                        <a:pt x="157" y="98"/>
                      </a:moveTo>
                      <a:lnTo>
                        <a:pt x="0" y="98"/>
                      </a:lnTo>
                      <a:lnTo>
                        <a:pt x="0" y="0"/>
                      </a:lnTo>
                      <a:lnTo>
                        <a:pt x="157" y="0"/>
                      </a:lnTo>
                      <a:lnTo>
                        <a:pt x="157" y="98"/>
                      </a:lnTo>
                      <a:close/>
                      <a:moveTo>
                        <a:pt x="30" y="69"/>
                      </a:moveTo>
                      <a:lnTo>
                        <a:pt x="128" y="69"/>
                      </a:lnTo>
                      <a:lnTo>
                        <a:pt x="128" y="30"/>
                      </a:lnTo>
                      <a:lnTo>
                        <a:pt x="30" y="30"/>
                      </a:lnTo>
                      <a:lnTo>
                        <a:pt x="30" y="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A955F91C-F774-4BF6-AEB1-17203468239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3471863"/>
                  <a:ext cx="49213" cy="631825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Freeform 248">
                  <a:extLst>
                    <a:ext uri="{FF2B5EF4-FFF2-40B4-BE49-F238E27FC236}">
                      <a16:creationId xmlns:a16="http://schemas.microsoft.com/office/drawing/2014/main" id="{20BA89EC-750D-4B3D-8770-1E27FD8E86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75651" y="2968626"/>
                  <a:ext cx="385763" cy="255588"/>
                </a:xfrm>
                <a:custGeom>
                  <a:avLst/>
                  <a:gdLst>
                    <a:gd name="T0" fmla="*/ 145 w 243"/>
                    <a:gd name="T1" fmla="*/ 161 h 161"/>
                    <a:gd name="T2" fmla="*/ 98 w 243"/>
                    <a:gd name="T3" fmla="*/ 69 h 161"/>
                    <a:gd name="T4" fmla="*/ 85 w 243"/>
                    <a:gd name="T5" fmla="*/ 95 h 161"/>
                    <a:gd name="T6" fmla="*/ 0 w 243"/>
                    <a:gd name="T7" fmla="*/ 95 h 161"/>
                    <a:gd name="T8" fmla="*/ 0 w 243"/>
                    <a:gd name="T9" fmla="*/ 65 h 161"/>
                    <a:gd name="T10" fmla="*/ 65 w 243"/>
                    <a:gd name="T11" fmla="*/ 65 h 161"/>
                    <a:gd name="T12" fmla="*/ 98 w 243"/>
                    <a:gd name="T13" fmla="*/ 0 h 161"/>
                    <a:gd name="T14" fmla="*/ 145 w 243"/>
                    <a:gd name="T15" fmla="*/ 93 h 161"/>
                    <a:gd name="T16" fmla="*/ 160 w 243"/>
                    <a:gd name="T17" fmla="*/ 65 h 161"/>
                    <a:gd name="T18" fmla="*/ 243 w 243"/>
                    <a:gd name="T19" fmla="*/ 65 h 161"/>
                    <a:gd name="T20" fmla="*/ 243 w 243"/>
                    <a:gd name="T21" fmla="*/ 95 h 161"/>
                    <a:gd name="T22" fmla="*/ 178 w 243"/>
                    <a:gd name="T23" fmla="*/ 95 h 161"/>
                    <a:gd name="T24" fmla="*/ 145 w 243"/>
                    <a:gd name="T25" fmla="*/ 161 h 1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43" h="161">
                      <a:moveTo>
                        <a:pt x="145" y="161"/>
                      </a:moveTo>
                      <a:lnTo>
                        <a:pt x="98" y="69"/>
                      </a:lnTo>
                      <a:lnTo>
                        <a:pt x="85" y="95"/>
                      </a:lnTo>
                      <a:lnTo>
                        <a:pt x="0" y="95"/>
                      </a:lnTo>
                      <a:lnTo>
                        <a:pt x="0" y="65"/>
                      </a:lnTo>
                      <a:lnTo>
                        <a:pt x="65" y="65"/>
                      </a:lnTo>
                      <a:lnTo>
                        <a:pt x="98" y="0"/>
                      </a:lnTo>
                      <a:lnTo>
                        <a:pt x="145" y="93"/>
                      </a:lnTo>
                      <a:lnTo>
                        <a:pt x="160" y="65"/>
                      </a:lnTo>
                      <a:lnTo>
                        <a:pt x="243" y="65"/>
                      </a:lnTo>
                      <a:lnTo>
                        <a:pt x="243" y="95"/>
                      </a:lnTo>
                      <a:lnTo>
                        <a:pt x="178" y="95"/>
                      </a:lnTo>
                      <a:lnTo>
                        <a:pt x="145" y="16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7" name="Freeform 249">
                  <a:extLst>
                    <a:ext uri="{FF2B5EF4-FFF2-40B4-BE49-F238E27FC236}">
                      <a16:creationId xmlns:a16="http://schemas.microsoft.com/office/drawing/2014/main" id="{AD70F6AF-71A7-4E8D-89D2-5EB9A9290F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34376" y="3121026"/>
                  <a:ext cx="468313" cy="395288"/>
                </a:xfrm>
                <a:custGeom>
                  <a:avLst/>
                  <a:gdLst>
                    <a:gd name="T0" fmla="*/ 149 w 295"/>
                    <a:gd name="T1" fmla="*/ 249 h 249"/>
                    <a:gd name="T2" fmla="*/ 0 w 295"/>
                    <a:gd name="T3" fmla="*/ 17 h 249"/>
                    <a:gd name="T4" fmla="*/ 26 w 295"/>
                    <a:gd name="T5" fmla="*/ 0 h 249"/>
                    <a:gd name="T6" fmla="*/ 149 w 295"/>
                    <a:gd name="T7" fmla="*/ 193 h 249"/>
                    <a:gd name="T8" fmla="*/ 269 w 295"/>
                    <a:gd name="T9" fmla="*/ 0 h 249"/>
                    <a:gd name="T10" fmla="*/ 295 w 295"/>
                    <a:gd name="T11" fmla="*/ 17 h 249"/>
                    <a:gd name="T12" fmla="*/ 149 w 295"/>
                    <a:gd name="T13" fmla="*/ 249 h 2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5" h="249">
                      <a:moveTo>
                        <a:pt x="149" y="249"/>
                      </a:moveTo>
                      <a:lnTo>
                        <a:pt x="0" y="17"/>
                      </a:lnTo>
                      <a:lnTo>
                        <a:pt x="26" y="0"/>
                      </a:lnTo>
                      <a:lnTo>
                        <a:pt x="149" y="193"/>
                      </a:lnTo>
                      <a:lnTo>
                        <a:pt x="269" y="0"/>
                      </a:lnTo>
                      <a:lnTo>
                        <a:pt x="295" y="17"/>
                      </a:lnTo>
                      <a:lnTo>
                        <a:pt x="149" y="24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8" name="Freeform 250">
                  <a:extLst>
                    <a:ext uri="{FF2B5EF4-FFF2-40B4-BE49-F238E27FC236}">
                      <a16:creationId xmlns:a16="http://schemas.microsoft.com/office/drawing/2014/main" id="{C73B7F44-808D-4D7E-B6A4-2F8A7035192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55001" y="3024188"/>
                  <a:ext cx="144463" cy="144463"/>
                </a:xfrm>
                <a:custGeom>
                  <a:avLst/>
                  <a:gdLst>
                    <a:gd name="T0" fmla="*/ 47 w 91"/>
                    <a:gd name="T1" fmla="*/ 91 h 91"/>
                    <a:gd name="T2" fmla="*/ 47 w 91"/>
                    <a:gd name="T3" fmla="*/ 91 h 91"/>
                    <a:gd name="T4" fmla="*/ 37 w 91"/>
                    <a:gd name="T5" fmla="*/ 89 h 91"/>
                    <a:gd name="T6" fmla="*/ 28 w 91"/>
                    <a:gd name="T7" fmla="*/ 87 h 91"/>
                    <a:gd name="T8" fmla="*/ 21 w 91"/>
                    <a:gd name="T9" fmla="*/ 84 h 91"/>
                    <a:gd name="T10" fmla="*/ 13 w 91"/>
                    <a:gd name="T11" fmla="*/ 78 h 91"/>
                    <a:gd name="T12" fmla="*/ 8 w 91"/>
                    <a:gd name="T13" fmla="*/ 71 h 91"/>
                    <a:gd name="T14" fmla="*/ 4 w 91"/>
                    <a:gd name="T15" fmla="*/ 63 h 91"/>
                    <a:gd name="T16" fmla="*/ 2 w 91"/>
                    <a:gd name="T17" fmla="*/ 54 h 91"/>
                    <a:gd name="T18" fmla="*/ 0 w 91"/>
                    <a:gd name="T19" fmla="*/ 45 h 91"/>
                    <a:gd name="T20" fmla="*/ 0 w 91"/>
                    <a:gd name="T21" fmla="*/ 45 h 91"/>
                    <a:gd name="T22" fmla="*/ 2 w 91"/>
                    <a:gd name="T23" fmla="*/ 35 h 91"/>
                    <a:gd name="T24" fmla="*/ 4 w 91"/>
                    <a:gd name="T25" fmla="*/ 28 h 91"/>
                    <a:gd name="T26" fmla="*/ 8 w 91"/>
                    <a:gd name="T27" fmla="*/ 21 h 91"/>
                    <a:gd name="T28" fmla="*/ 13 w 91"/>
                    <a:gd name="T29" fmla="*/ 13 h 91"/>
                    <a:gd name="T30" fmla="*/ 21 w 91"/>
                    <a:gd name="T31" fmla="*/ 8 h 91"/>
                    <a:gd name="T32" fmla="*/ 28 w 91"/>
                    <a:gd name="T33" fmla="*/ 4 h 91"/>
                    <a:gd name="T34" fmla="*/ 37 w 91"/>
                    <a:gd name="T35" fmla="*/ 0 h 91"/>
                    <a:gd name="T36" fmla="*/ 47 w 91"/>
                    <a:gd name="T37" fmla="*/ 0 h 91"/>
                    <a:gd name="T38" fmla="*/ 47 w 91"/>
                    <a:gd name="T39" fmla="*/ 0 h 91"/>
                    <a:gd name="T40" fmla="*/ 56 w 91"/>
                    <a:gd name="T41" fmla="*/ 0 h 91"/>
                    <a:gd name="T42" fmla="*/ 63 w 91"/>
                    <a:gd name="T43" fmla="*/ 4 h 91"/>
                    <a:gd name="T44" fmla="*/ 73 w 91"/>
                    <a:gd name="T45" fmla="*/ 8 h 91"/>
                    <a:gd name="T46" fmla="*/ 78 w 91"/>
                    <a:gd name="T47" fmla="*/ 13 h 91"/>
                    <a:gd name="T48" fmla="*/ 84 w 91"/>
                    <a:gd name="T49" fmla="*/ 21 h 91"/>
                    <a:gd name="T50" fmla="*/ 87 w 91"/>
                    <a:gd name="T51" fmla="*/ 28 h 91"/>
                    <a:gd name="T52" fmla="*/ 91 w 91"/>
                    <a:gd name="T53" fmla="*/ 35 h 91"/>
                    <a:gd name="T54" fmla="*/ 91 w 91"/>
                    <a:gd name="T55" fmla="*/ 45 h 91"/>
                    <a:gd name="T56" fmla="*/ 91 w 91"/>
                    <a:gd name="T57" fmla="*/ 45 h 91"/>
                    <a:gd name="T58" fmla="*/ 91 w 91"/>
                    <a:gd name="T59" fmla="*/ 54 h 91"/>
                    <a:gd name="T60" fmla="*/ 87 w 91"/>
                    <a:gd name="T61" fmla="*/ 63 h 91"/>
                    <a:gd name="T62" fmla="*/ 84 w 91"/>
                    <a:gd name="T63" fmla="*/ 71 h 91"/>
                    <a:gd name="T64" fmla="*/ 78 w 91"/>
                    <a:gd name="T65" fmla="*/ 78 h 91"/>
                    <a:gd name="T66" fmla="*/ 73 w 91"/>
                    <a:gd name="T67" fmla="*/ 84 h 91"/>
                    <a:gd name="T68" fmla="*/ 63 w 91"/>
                    <a:gd name="T69" fmla="*/ 87 h 91"/>
                    <a:gd name="T70" fmla="*/ 56 w 91"/>
                    <a:gd name="T71" fmla="*/ 89 h 91"/>
                    <a:gd name="T72" fmla="*/ 47 w 91"/>
                    <a:gd name="T73" fmla="*/ 91 h 91"/>
                    <a:gd name="T74" fmla="*/ 47 w 91"/>
                    <a:gd name="T75" fmla="*/ 91 h 91"/>
                    <a:gd name="T76" fmla="*/ 47 w 91"/>
                    <a:gd name="T77" fmla="*/ 30 h 91"/>
                    <a:gd name="T78" fmla="*/ 47 w 91"/>
                    <a:gd name="T79" fmla="*/ 30 h 91"/>
                    <a:gd name="T80" fmla="*/ 41 w 91"/>
                    <a:gd name="T81" fmla="*/ 32 h 91"/>
                    <a:gd name="T82" fmla="*/ 35 w 91"/>
                    <a:gd name="T83" fmla="*/ 35 h 91"/>
                    <a:gd name="T84" fmla="*/ 32 w 91"/>
                    <a:gd name="T85" fmla="*/ 39 h 91"/>
                    <a:gd name="T86" fmla="*/ 32 w 91"/>
                    <a:gd name="T87" fmla="*/ 45 h 91"/>
                    <a:gd name="T88" fmla="*/ 32 w 91"/>
                    <a:gd name="T89" fmla="*/ 45 h 91"/>
                    <a:gd name="T90" fmla="*/ 32 w 91"/>
                    <a:gd name="T91" fmla="*/ 50 h 91"/>
                    <a:gd name="T92" fmla="*/ 35 w 91"/>
                    <a:gd name="T93" fmla="*/ 56 h 91"/>
                    <a:gd name="T94" fmla="*/ 41 w 91"/>
                    <a:gd name="T95" fmla="*/ 60 h 91"/>
                    <a:gd name="T96" fmla="*/ 47 w 91"/>
                    <a:gd name="T97" fmla="*/ 60 h 91"/>
                    <a:gd name="T98" fmla="*/ 47 w 91"/>
                    <a:gd name="T99" fmla="*/ 60 h 91"/>
                    <a:gd name="T100" fmla="*/ 52 w 91"/>
                    <a:gd name="T101" fmla="*/ 60 h 91"/>
                    <a:gd name="T102" fmla="*/ 58 w 91"/>
                    <a:gd name="T103" fmla="*/ 56 h 91"/>
                    <a:gd name="T104" fmla="*/ 60 w 91"/>
                    <a:gd name="T105" fmla="*/ 50 h 91"/>
                    <a:gd name="T106" fmla="*/ 61 w 91"/>
                    <a:gd name="T107" fmla="*/ 45 h 91"/>
                    <a:gd name="T108" fmla="*/ 61 w 91"/>
                    <a:gd name="T109" fmla="*/ 45 h 91"/>
                    <a:gd name="T110" fmla="*/ 60 w 91"/>
                    <a:gd name="T111" fmla="*/ 39 h 91"/>
                    <a:gd name="T112" fmla="*/ 58 w 91"/>
                    <a:gd name="T113" fmla="*/ 35 h 91"/>
                    <a:gd name="T114" fmla="*/ 52 w 91"/>
                    <a:gd name="T115" fmla="*/ 32 h 91"/>
                    <a:gd name="T116" fmla="*/ 47 w 91"/>
                    <a:gd name="T117" fmla="*/ 30 h 91"/>
                    <a:gd name="T118" fmla="*/ 47 w 91"/>
                    <a:gd name="T119" fmla="*/ 30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91" h="91">
                      <a:moveTo>
                        <a:pt x="47" y="91"/>
                      </a:moveTo>
                      <a:lnTo>
                        <a:pt x="47" y="91"/>
                      </a:lnTo>
                      <a:lnTo>
                        <a:pt x="37" y="89"/>
                      </a:lnTo>
                      <a:lnTo>
                        <a:pt x="28" y="87"/>
                      </a:lnTo>
                      <a:lnTo>
                        <a:pt x="21" y="84"/>
                      </a:lnTo>
                      <a:lnTo>
                        <a:pt x="13" y="78"/>
                      </a:lnTo>
                      <a:lnTo>
                        <a:pt x="8" y="71"/>
                      </a:lnTo>
                      <a:lnTo>
                        <a:pt x="4" y="63"/>
                      </a:lnTo>
                      <a:lnTo>
                        <a:pt x="2" y="54"/>
                      </a:lnTo>
                      <a:lnTo>
                        <a:pt x="0" y="45"/>
                      </a:lnTo>
                      <a:lnTo>
                        <a:pt x="0" y="45"/>
                      </a:lnTo>
                      <a:lnTo>
                        <a:pt x="2" y="35"/>
                      </a:lnTo>
                      <a:lnTo>
                        <a:pt x="4" y="28"/>
                      </a:lnTo>
                      <a:lnTo>
                        <a:pt x="8" y="21"/>
                      </a:lnTo>
                      <a:lnTo>
                        <a:pt x="13" y="13"/>
                      </a:lnTo>
                      <a:lnTo>
                        <a:pt x="21" y="8"/>
                      </a:lnTo>
                      <a:lnTo>
                        <a:pt x="28" y="4"/>
                      </a:lnTo>
                      <a:lnTo>
                        <a:pt x="37" y="0"/>
                      </a:lnTo>
                      <a:lnTo>
                        <a:pt x="47" y="0"/>
                      </a:lnTo>
                      <a:lnTo>
                        <a:pt x="47" y="0"/>
                      </a:lnTo>
                      <a:lnTo>
                        <a:pt x="56" y="0"/>
                      </a:lnTo>
                      <a:lnTo>
                        <a:pt x="63" y="4"/>
                      </a:lnTo>
                      <a:lnTo>
                        <a:pt x="73" y="8"/>
                      </a:lnTo>
                      <a:lnTo>
                        <a:pt x="78" y="13"/>
                      </a:lnTo>
                      <a:lnTo>
                        <a:pt x="84" y="21"/>
                      </a:lnTo>
                      <a:lnTo>
                        <a:pt x="87" y="28"/>
                      </a:lnTo>
                      <a:lnTo>
                        <a:pt x="91" y="35"/>
                      </a:lnTo>
                      <a:lnTo>
                        <a:pt x="91" y="45"/>
                      </a:lnTo>
                      <a:lnTo>
                        <a:pt x="91" y="45"/>
                      </a:lnTo>
                      <a:lnTo>
                        <a:pt x="91" y="54"/>
                      </a:lnTo>
                      <a:lnTo>
                        <a:pt x="87" y="63"/>
                      </a:lnTo>
                      <a:lnTo>
                        <a:pt x="84" y="71"/>
                      </a:lnTo>
                      <a:lnTo>
                        <a:pt x="78" y="78"/>
                      </a:lnTo>
                      <a:lnTo>
                        <a:pt x="73" y="84"/>
                      </a:lnTo>
                      <a:lnTo>
                        <a:pt x="63" y="87"/>
                      </a:lnTo>
                      <a:lnTo>
                        <a:pt x="56" y="89"/>
                      </a:lnTo>
                      <a:lnTo>
                        <a:pt x="47" y="91"/>
                      </a:lnTo>
                      <a:lnTo>
                        <a:pt x="47" y="91"/>
                      </a:lnTo>
                      <a:close/>
                      <a:moveTo>
                        <a:pt x="47" y="30"/>
                      </a:moveTo>
                      <a:lnTo>
                        <a:pt x="47" y="30"/>
                      </a:lnTo>
                      <a:lnTo>
                        <a:pt x="41" y="32"/>
                      </a:lnTo>
                      <a:lnTo>
                        <a:pt x="35" y="35"/>
                      </a:lnTo>
                      <a:lnTo>
                        <a:pt x="32" y="39"/>
                      </a:lnTo>
                      <a:lnTo>
                        <a:pt x="32" y="45"/>
                      </a:lnTo>
                      <a:lnTo>
                        <a:pt x="32" y="45"/>
                      </a:lnTo>
                      <a:lnTo>
                        <a:pt x="32" y="50"/>
                      </a:lnTo>
                      <a:lnTo>
                        <a:pt x="35" y="56"/>
                      </a:lnTo>
                      <a:lnTo>
                        <a:pt x="41" y="60"/>
                      </a:lnTo>
                      <a:lnTo>
                        <a:pt x="47" y="60"/>
                      </a:lnTo>
                      <a:lnTo>
                        <a:pt x="47" y="60"/>
                      </a:lnTo>
                      <a:lnTo>
                        <a:pt x="52" y="60"/>
                      </a:lnTo>
                      <a:lnTo>
                        <a:pt x="58" y="56"/>
                      </a:lnTo>
                      <a:lnTo>
                        <a:pt x="60" y="50"/>
                      </a:lnTo>
                      <a:lnTo>
                        <a:pt x="61" y="45"/>
                      </a:lnTo>
                      <a:lnTo>
                        <a:pt x="61" y="45"/>
                      </a:lnTo>
                      <a:lnTo>
                        <a:pt x="60" y="39"/>
                      </a:lnTo>
                      <a:lnTo>
                        <a:pt x="58" y="35"/>
                      </a:lnTo>
                      <a:lnTo>
                        <a:pt x="52" y="32"/>
                      </a:lnTo>
                      <a:lnTo>
                        <a:pt x="47" y="30"/>
                      </a:lnTo>
                      <a:lnTo>
                        <a:pt x="47" y="3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9" name="Freeform 251">
                  <a:extLst>
                    <a:ext uri="{FF2B5EF4-FFF2-40B4-BE49-F238E27FC236}">
                      <a16:creationId xmlns:a16="http://schemas.microsoft.com/office/drawing/2014/main" id="{8912995F-B8C5-4317-80BC-C331A0BFC16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737601" y="3024188"/>
                  <a:ext cx="144463" cy="144463"/>
                </a:xfrm>
                <a:custGeom>
                  <a:avLst/>
                  <a:gdLst>
                    <a:gd name="T0" fmla="*/ 45 w 91"/>
                    <a:gd name="T1" fmla="*/ 91 h 91"/>
                    <a:gd name="T2" fmla="*/ 45 w 91"/>
                    <a:gd name="T3" fmla="*/ 91 h 91"/>
                    <a:gd name="T4" fmla="*/ 35 w 91"/>
                    <a:gd name="T5" fmla="*/ 89 h 91"/>
                    <a:gd name="T6" fmla="*/ 28 w 91"/>
                    <a:gd name="T7" fmla="*/ 87 h 91"/>
                    <a:gd name="T8" fmla="*/ 21 w 91"/>
                    <a:gd name="T9" fmla="*/ 84 h 91"/>
                    <a:gd name="T10" fmla="*/ 13 w 91"/>
                    <a:gd name="T11" fmla="*/ 78 h 91"/>
                    <a:gd name="T12" fmla="*/ 8 w 91"/>
                    <a:gd name="T13" fmla="*/ 71 h 91"/>
                    <a:gd name="T14" fmla="*/ 4 w 91"/>
                    <a:gd name="T15" fmla="*/ 63 h 91"/>
                    <a:gd name="T16" fmla="*/ 0 w 91"/>
                    <a:gd name="T17" fmla="*/ 54 h 91"/>
                    <a:gd name="T18" fmla="*/ 0 w 91"/>
                    <a:gd name="T19" fmla="*/ 45 h 91"/>
                    <a:gd name="T20" fmla="*/ 0 w 91"/>
                    <a:gd name="T21" fmla="*/ 45 h 91"/>
                    <a:gd name="T22" fmla="*/ 0 w 91"/>
                    <a:gd name="T23" fmla="*/ 35 h 91"/>
                    <a:gd name="T24" fmla="*/ 4 w 91"/>
                    <a:gd name="T25" fmla="*/ 28 h 91"/>
                    <a:gd name="T26" fmla="*/ 8 w 91"/>
                    <a:gd name="T27" fmla="*/ 21 h 91"/>
                    <a:gd name="T28" fmla="*/ 13 w 91"/>
                    <a:gd name="T29" fmla="*/ 13 h 91"/>
                    <a:gd name="T30" fmla="*/ 21 w 91"/>
                    <a:gd name="T31" fmla="*/ 8 h 91"/>
                    <a:gd name="T32" fmla="*/ 28 w 91"/>
                    <a:gd name="T33" fmla="*/ 4 h 91"/>
                    <a:gd name="T34" fmla="*/ 35 w 91"/>
                    <a:gd name="T35" fmla="*/ 0 h 91"/>
                    <a:gd name="T36" fmla="*/ 45 w 91"/>
                    <a:gd name="T37" fmla="*/ 0 h 91"/>
                    <a:gd name="T38" fmla="*/ 45 w 91"/>
                    <a:gd name="T39" fmla="*/ 0 h 91"/>
                    <a:gd name="T40" fmla="*/ 54 w 91"/>
                    <a:gd name="T41" fmla="*/ 0 h 91"/>
                    <a:gd name="T42" fmla="*/ 63 w 91"/>
                    <a:gd name="T43" fmla="*/ 4 h 91"/>
                    <a:gd name="T44" fmla="*/ 71 w 91"/>
                    <a:gd name="T45" fmla="*/ 8 h 91"/>
                    <a:gd name="T46" fmla="*/ 78 w 91"/>
                    <a:gd name="T47" fmla="*/ 13 h 91"/>
                    <a:gd name="T48" fmla="*/ 84 w 91"/>
                    <a:gd name="T49" fmla="*/ 21 h 91"/>
                    <a:gd name="T50" fmla="*/ 87 w 91"/>
                    <a:gd name="T51" fmla="*/ 28 h 91"/>
                    <a:gd name="T52" fmla="*/ 89 w 91"/>
                    <a:gd name="T53" fmla="*/ 35 h 91"/>
                    <a:gd name="T54" fmla="*/ 91 w 91"/>
                    <a:gd name="T55" fmla="*/ 45 h 91"/>
                    <a:gd name="T56" fmla="*/ 91 w 91"/>
                    <a:gd name="T57" fmla="*/ 45 h 91"/>
                    <a:gd name="T58" fmla="*/ 89 w 91"/>
                    <a:gd name="T59" fmla="*/ 54 h 91"/>
                    <a:gd name="T60" fmla="*/ 87 w 91"/>
                    <a:gd name="T61" fmla="*/ 63 h 91"/>
                    <a:gd name="T62" fmla="*/ 84 w 91"/>
                    <a:gd name="T63" fmla="*/ 71 h 91"/>
                    <a:gd name="T64" fmla="*/ 78 w 91"/>
                    <a:gd name="T65" fmla="*/ 78 h 91"/>
                    <a:gd name="T66" fmla="*/ 71 w 91"/>
                    <a:gd name="T67" fmla="*/ 84 h 91"/>
                    <a:gd name="T68" fmla="*/ 63 w 91"/>
                    <a:gd name="T69" fmla="*/ 87 h 91"/>
                    <a:gd name="T70" fmla="*/ 54 w 91"/>
                    <a:gd name="T71" fmla="*/ 89 h 91"/>
                    <a:gd name="T72" fmla="*/ 45 w 91"/>
                    <a:gd name="T73" fmla="*/ 91 h 91"/>
                    <a:gd name="T74" fmla="*/ 45 w 91"/>
                    <a:gd name="T75" fmla="*/ 91 h 91"/>
                    <a:gd name="T76" fmla="*/ 45 w 91"/>
                    <a:gd name="T77" fmla="*/ 30 h 91"/>
                    <a:gd name="T78" fmla="*/ 45 w 91"/>
                    <a:gd name="T79" fmla="*/ 30 h 91"/>
                    <a:gd name="T80" fmla="*/ 39 w 91"/>
                    <a:gd name="T81" fmla="*/ 32 h 91"/>
                    <a:gd name="T82" fmla="*/ 35 w 91"/>
                    <a:gd name="T83" fmla="*/ 35 h 91"/>
                    <a:gd name="T84" fmla="*/ 32 w 91"/>
                    <a:gd name="T85" fmla="*/ 39 h 91"/>
                    <a:gd name="T86" fmla="*/ 30 w 91"/>
                    <a:gd name="T87" fmla="*/ 45 h 91"/>
                    <a:gd name="T88" fmla="*/ 30 w 91"/>
                    <a:gd name="T89" fmla="*/ 45 h 91"/>
                    <a:gd name="T90" fmla="*/ 32 w 91"/>
                    <a:gd name="T91" fmla="*/ 50 h 91"/>
                    <a:gd name="T92" fmla="*/ 35 w 91"/>
                    <a:gd name="T93" fmla="*/ 56 h 91"/>
                    <a:gd name="T94" fmla="*/ 39 w 91"/>
                    <a:gd name="T95" fmla="*/ 60 h 91"/>
                    <a:gd name="T96" fmla="*/ 45 w 91"/>
                    <a:gd name="T97" fmla="*/ 60 h 91"/>
                    <a:gd name="T98" fmla="*/ 45 w 91"/>
                    <a:gd name="T99" fmla="*/ 60 h 91"/>
                    <a:gd name="T100" fmla="*/ 50 w 91"/>
                    <a:gd name="T101" fmla="*/ 60 h 91"/>
                    <a:gd name="T102" fmla="*/ 56 w 91"/>
                    <a:gd name="T103" fmla="*/ 56 h 91"/>
                    <a:gd name="T104" fmla="*/ 59 w 91"/>
                    <a:gd name="T105" fmla="*/ 50 h 91"/>
                    <a:gd name="T106" fmla="*/ 59 w 91"/>
                    <a:gd name="T107" fmla="*/ 45 h 91"/>
                    <a:gd name="T108" fmla="*/ 59 w 91"/>
                    <a:gd name="T109" fmla="*/ 45 h 91"/>
                    <a:gd name="T110" fmla="*/ 59 w 91"/>
                    <a:gd name="T111" fmla="*/ 39 h 91"/>
                    <a:gd name="T112" fmla="*/ 56 w 91"/>
                    <a:gd name="T113" fmla="*/ 35 h 91"/>
                    <a:gd name="T114" fmla="*/ 50 w 91"/>
                    <a:gd name="T115" fmla="*/ 32 h 91"/>
                    <a:gd name="T116" fmla="*/ 45 w 91"/>
                    <a:gd name="T117" fmla="*/ 30 h 91"/>
                    <a:gd name="T118" fmla="*/ 45 w 91"/>
                    <a:gd name="T119" fmla="*/ 30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91" h="91">
                      <a:moveTo>
                        <a:pt x="45" y="91"/>
                      </a:moveTo>
                      <a:lnTo>
                        <a:pt x="45" y="91"/>
                      </a:lnTo>
                      <a:lnTo>
                        <a:pt x="35" y="89"/>
                      </a:lnTo>
                      <a:lnTo>
                        <a:pt x="28" y="87"/>
                      </a:lnTo>
                      <a:lnTo>
                        <a:pt x="21" y="84"/>
                      </a:lnTo>
                      <a:lnTo>
                        <a:pt x="13" y="78"/>
                      </a:lnTo>
                      <a:lnTo>
                        <a:pt x="8" y="71"/>
                      </a:lnTo>
                      <a:lnTo>
                        <a:pt x="4" y="63"/>
                      </a:lnTo>
                      <a:lnTo>
                        <a:pt x="0" y="54"/>
                      </a:lnTo>
                      <a:lnTo>
                        <a:pt x="0" y="45"/>
                      </a:lnTo>
                      <a:lnTo>
                        <a:pt x="0" y="45"/>
                      </a:lnTo>
                      <a:lnTo>
                        <a:pt x="0" y="35"/>
                      </a:lnTo>
                      <a:lnTo>
                        <a:pt x="4" y="28"/>
                      </a:lnTo>
                      <a:lnTo>
                        <a:pt x="8" y="21"/>
                      </a:lnTo>
                      <a:lnTo>
                        <a:pt x="13" y="13"/>
                      </a:lnTo>
                      <a:lnTo>
                        <a:pt x="21" y="8"/>
                      </a:lnTo>
                      <a:lnTo>
                        <a:pt x="28" y="4"/>
                      </a:lnTo>
                      <a:lnTo>
                        <a:pt x="35" y="0"/>
                      </a:lnTo>
                      <a:lnTo>
                        <a:pt x="45" y="0"/>
                      </a:lnTo>
                      <a:lnTo>
                        <a:pt x="45" y="0"/>
                      </a:lnTo>
                      <a:lnTo>
                        <a:pt x="54" y="0"/>
                      </a:lnTo>
                      <a:lnTo>
                        <a:pt x="63" y="4"/>
                      </a:lnTo>
                      <a:lnTo>
                        <a:pt x="71" y="8"/>
                      </a:lnTo>
                      <a:lnTo>
                        <a:pt x="78" y="13"/>
                      </a:lnTo>
                      <a:lnTo>
                        <a:pt x="84" y="21"/>
                      </a:lnTo>
                      <a:lnTo>
                        <a:pt x="87" y="28"/>
                      </a:lnTo>
                      <a:lnTo>
                        <a:pt x="89" y="35"/>
                      </a:lnTo>
                      <a:lnTo>
                        <a:pt x="91" y="45"/>
                      </a:lnTo>
                      <a:lnTo>
                        <a:pt x="91" y="45"/>
                      </a:lnTo>
                      <a:lnTo>
                        <a:pt x="89" y="54"/>
                      </a:lnTo>
                      <a:lnTo>
                        <a:pt x="87" y="63"/>
                      </a:lnTo>
                      <a:lnTo>
                        <a:pt x="84" y="71"/>
                      </a:lnTo>
                      <a:lnTo>
                        <a:pt x="78" y="78"/>
                      </a:lnTo>
                      <a:lnTo>
                        <a:pt x="71" y="84"/>
                      </a:lnTo>
                      <a:lnTo>
                        <a:pt x="63" y="87"/>
                      </a:lnTo>
                      <a:lnTo>
                        <a:pt x="54" y="89"/>
                      </a:lnTo>
                      <a:lnTo>
                        <a:pt x="45" y="91"/>
                      </a:lnTo>
                      <a:lnTo>
                        <a:pt x="45" y="91"/>
                      </a:lnTo>
                      <a:close/>
                      <a:moveTo>
                        <a:pt x="45" y="30"/>
                      </a:moveTo>
                      <a:lnTo>
                        <a:pt x="45" y="30"/>
                      </a:lnTo>
                      <a:lnTo>
                        <a:pt x="39" y="32"/>
                      </a:lnTo>
                      <a:lnTo>
                        <a:pt x="35" y="35"/>
                      </a:lnTo>
                      <a:lnTo>
                        <a:pt x="32" y="39"/>
                      </a:lnTo>
                      <a:lnTo>
                        <a:pt x="30" y="45"/>
                      </a:lnTo>
                      <a:lnTo>
                        <a:pt x="30" y="45"/>
                      </a:lnTo>
                      <a:lnTo>
                        <a:pt x="32" y="50"/>
                      </a:lnTo>
                      <a:lnTo>
                        <a:pt x="35" y="56"/>
                      </a:lnTo>
                      <a:lnTo>
                        <a:pt x="39" y="60"/>
                      </a:lnTo>
                      <a:lnTo>
                        <a:pt x="45" y="60"/>
                      </a:lnTo>
                      <a:lnTo>
                        <a:pt x="45" y="60"/>
                      </a:lnTo>
                      <a:lnTo>
                        <a:pt x="50" y="60"/>
                      </a:lnTo>
                      <a:lnTo>
                        <a:pt x="56" y="56"/>
                      </a:lnTo>
                      <a:lnTo>
                        <a:pt x="59" y="50"/>
                      </a:lnTo>
                      <a:lnTo>
                        <a:pt x="59" y="45"/>
                      </a:lnTo>
                      <a:lnTo>
                        <a:pt x="59" y="45"/>
                      </a:lnTo>
                      <a:lnTo>
                        <a:pt x="59" y="39"/>
                      </a:lnTo>
                      <a:lnTo>
                        <a:pt x="56" y="35"/>
                      </a:lnTo>
                      <a:lnTo>
                        <a:pt x="50" y="32"/>
                      </a:lnTo>
                      <a:lnTo>
                        <a:pt x="45" y="30"/>
                      </a:lnTo>
                      <a:lnTo>
                        <a:pt x="45" y="3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id="{CAAE7413-EF26-4717-AC8C-2CF23F2E41D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2178051"/>
                  <a:ext cx="49213" cy="9366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1" name="Freeform 253">
                  <a:extLst>
                    <a:ext uri="{FF2B5EF4-FFF2-40B4-BE49-F238E27FC236}">
                      <a16:creationId xmlns:a16="http://schemas.microsoft.com/office/drawing/2014/main" id="{73AA1EC9-474D-472D-8564-CF212A52E4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16963" y="2192338"/>
                  <a:ext cx="68263" cy="103188"/>
                </a:xfrm>
                <a:custGeom>
                  <a:avLst/>
                  <a:gdLst>
                    <a:gd name="T0" fmla="*/ 30 w 43"/>
                    <a:gd name="T1" fmla="*/ 65 h 65"/>
                    <a:gd name="T2" fmla="*/ 0 w 43"/>
                    <a:gd name="T3" fmla="*/ 59 h 65"/>
                    <a:gd name="T4" fmla="*/ 13 w 43"/>
                    <a:gd name="T5" fmla="*/ 0 h 65"/>
                    <a:gd name="T6" fmla="*/ 43 w 43"/>
                    <a:gd name="T7" fmla="*/ 6 h 65"/>
                    <a:gd name="T8" fmla="*/ 30 w 43"/>
                    <a:gd name="T9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3" h="65">
                      <a:moveTo>
                        <a:pt x="30" y="65"/>
                      </a:moveTo>
                      <a:lnTo>
                        <a:pt x="0" y="59"/>
                      </a:lnTo>
                      <a:lnTo>
                        <a:pt x="13" y="0"/>
                      </a:lnTo>
                      <a:lnTo>
                        <a:pt x="43" y="6"/>
                      </a:lnTo>
                      <a:lnTo>
                        <a:pt x="30" y="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2" name="Freeform 254">
                  <a:extLst>
                    <a:ext uri="{FF2B5EF4-FFF2-40B4-BE49-F238E27FC236}">
                      <a16:creationId xmlns:a16="http://schemas.microsoft.com/office/drawing/2014/main" id="{61A6ADAC-B9E4-492F-865E-BCE734A558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82063" y="2244726"/>
                  <a:ext cx="82550" cy="109538"/>
                </a:xfrm>
                <a:custGeom>
                  <a:avLst/>
                  <a:gdLst>
                    <a:gd name="T0" fmla="*/ 28 w 52"/>
                    <a:gd name="T1" fmla="*/ 69 h 69"/>
                    <a:gd name="T2" fmla="*/ 0 w 52"/>
                    <a:gd name="T3" fmla="*/ 56 h 69"/>
                    <a:gd name="T4" fmla="*/ 24 w 52"/>
                    <a:gd name="T5" fmla="*/ 0 h 69"/>
                    <a:gd name="T6" fmla="*/ 52 w 52"/>
                    <a:gd name="T7" fmla="*/ 13 h 69"/>
                    <a:gd name="T8" fmla="*/ 28 w 52"/>
                    <a:gd name="T9" fmla="*/ 69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2" h="69">
                      <a:moveTo>
                        <a:pt x="28" y="69"/>
                      </a:moveTo>
                      <a:lnTo>
                        <a:pt x="0" y="56"/>
                      </a:lnTo>
                      <a:lnTo>
                        <a:pt x="24" y="0"/>
                      </a:lnTo>
                      <a:lnTo>
                        <a:pt x="52" y="13"/>
                      </a:lnTo>
                      <a:lnTo>
                        <a:pt x="28" y="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3" name="Freeform 255">
                  <a:extLst>
                    <a:ext uri="{FF2B5EF4-FFF2-40B4-BE49-F238E27FC236}">
                      <a16:creationId xmlns:a16="http://schemas.microsoft.com/office/drawing/2014/main" id="{977A77F8-1623-4CB7-A819-AAAAA493D4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31288" y="2339976"/>
                  <a:ext cx="98425" cy="104775"/>
                </a:xfrm>
                <a:custGeom>
                  <a:avLst/>
                  <a:gdLst>
                    <a:gd name="T0" fmla="*/ 26 w 62"/>
                    <a:gd name="T1" fmla="*/ 66 h 66"/>
                    <a:gd name="T2" fmla="*/ 0 w 62"/>
                    <a:gd name="T3" fmla="*/ 48 h 66"/>
                    <a:gd name="T4" fmla="*/ 37 w 62"/>
                    <a:gd name="T5" fmla="*/ 0 h 66"/>
                    <a:gd name="T6" fmla="*/ 62 w 62"/>
                    <a:gd name="T7" fmla="*/ 16 h 66"/>
                    <a:gd name="T8" fmla="*/ 26 w 62"/>
                    <a:gd name="T9" fmla="*/ 66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2" h="66">
                      <a:moveTo>
                        <a:pt x="26" y="66"/>
                      </a:moveTo>
                      <a:lnTo>
                        <a:pt x="0" y="48"/>
                      </a:lnTo>
                      <a:lnTo>
                        <a:pt x="37" y="0"/>
                      </a:lnTo>
                      <a:lnTo>
                        <a:pt x="62" y="16"/>
                      </a:lnTo>
                      <a:lnTo>
                        <a:pt x="26" y="6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Freeform 256">
                  <a:extLst>
                    <a:ext uri="{FF2B5EF4-FFF2-40B4-BE49-F238E27FC236}">
                      <a16:creationId xmlns:a16="http://schemas.microsoft.com/office/drawing/2014/main" id="{935FDF97-10EE-4E4C-A53E-9166170DD4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64638" y="2462213"/>
                  <a:ext cx="103188" cy="100013"/>
                </a:xfrm>
                <a:custGeom>
                  <a:avLst/>
                  <a:gdLst>
                    <a:gd name="T0" fmla="*/ 20 w 65"/>
                    <a:gd name="T1" fmla="*/ 63 h 63"/>
                    <a:gd name="T2" fmla="*/ 0 w 65"/>
                    <a:gd name="T3" fmla="*/ 41 h 63"/>
                    <a:gd name="T4" fmla="*/ 44 w 65"/>
                    <a:gd name="T5" fmla="*/ 0 h 63"/>
                    <a:gd name="T6" fmla="*/ 65 w 65"/>
                    <a:gd name="T7" fmla="*/ 23 h 63"/>
                    <a:gd name="T8" fmla="*/ 20 w 65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5" h="63">
                      <a:moveTo>
                        <a:pt x="20" y="63"/>
                      </a:moveTo>
                      <a:lnTo>
                        <a:pt x="0" y="41"/>
                      </a:lnTo>
                      <a:lnTo>
                        <a:pt x="44" y="0"/>
                      </a:lnTo>
                      <a:lnTo>
                        <a:pt x="65" y="23"/>
                      </a:lnTo>
                      <a:lnTo>
                        <a:pt x="20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Freeform 257">
                  <a:extLst>
                    <a:ext uri="{FF2B5EF4-FFF2-40B4-BE49-F238E27FC236}">
                      <a16:creationId xmlns:a16="http://schemas.microsoft.com/office/drawing/2014/main" id="{CA562749-14B7-41A8-BB25-A07EBB3C4A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271001" y="2616201"/>
                  <a:ext cx="104775" cy="87313"/>
                </a:xfrm>
                <a:custGeom>
                  <a:avLst/>
                  <a:gdLst>
                    <a:gd name="T0" fmla="*/ 14 w 66"/>
                    <a:gd name="T1" fmla="*/ 55 h 55"/>
                    <a:gd name="T2" fmla="*/ 0 w 66"/>
                    <a:gd name="T3" fmla="*/ 29 h 55"/>
                    <a:gd name="T4" fmla="*/ 51 w 66"/>
                    <a:gd name="T5" fmla="*/ 0 h 55"/>
                    <a:gd name="T6" fmla="*/ 66 w 66"/>
                    <a:gd name="T7" fmla="*/ 26 h 55"/>
                    <a:gd name="T8" fmla="*/ 14 w 66"/>
                    <a:gd name="T9" fmla="*/ 55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55">
                      <a:moveTo>
                        <a:pt x="14" y="55"/>
                      </a:moveTo>
                      <a:lnTo>
                        <a:pt x="0" y="29"/>
                      </a:lnTo>
                      <a:lnTo>
                        <a:pt x="51" y="0"/>
                      </a:lnTo>
                      <a:lnTo>
                        <a:pt x="66" y="26"/>
                      </a:lnTo>
                      <a:lnTo>
                        <a:pt x="14" y="5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Freeform 258">
                  <a:extLst>
                    <a:ext uri="{FF2B5EF4-FFF2-40B4-BE49-F238E27FC236}">
                      <a16:creationId xmlns:a16="http://schemas.microsoft.com/office/drawing/2014/main" id="{408CA8BA-E75E-4490-98D8-1AEDFA5464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44026" y="2789238"/>
                  <a:ext cx="106363" cy="76200"/>
                </a:xfrm>
                <a:custGeom>
                  <a:avLst/>
                  <a:gdLst>
                    <a:gd name="T0" fmla="*/ 9 w 67"/>
                    <a:gd name="T1" fmla="*/ 48 h 48"/>
                    <a:gd name="T2" fmla="*/ 0 w 67"/>
                    <a:gd name="T3" fmla="*/ 19 h 48"/>
                    <a:gd name="T4" fmla="*/ 57 w 67"/>
                    <a:gd name="T5" fmla="*/ 0 h 48"/>
                    <a:gd name="T6" fmla="*/ 67 w 67"/>
                    <a:gd name="T7" fmla="*/ 28 h 48"/>
                    <a:gd name="T8" fmla="*/ 9 w 67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48">
                      <a:moveTo>
                        <a:pt x="9" y="48"/>
                      </a:moveTo>
                      <a:lnTo>
                        <a:pt x="0" y="19"/>
                      </a:lnTo>
                      <a:lnTo>
                        <a:pt x="57" y="0"/>
                      </a:lnTo>
                      <a:lnTo>
                        <a:pt x="67" y="28"/>
                      </a:lnTo>
                      <a:lnTo>
                        <a:pt x="9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7" name="Freeform 259">
                  <a:extLst>
                    <a:ext uri="{FF2B5EF4-FFF2-40B4-BE49-F238E27FC236}">
                      <a16:creationId xmlns:a16="http://schemas.microsoft.com/office/drawing/2014/main" id="{1090CF3A-27A3-4311-8FE7-596CA729EF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85301" y="2974976"/>
                  <a:ext cx="100013" cy="58738"/>
                </a:xfrm>
                <a:custGeom>
                  <a:avLst/>
                  <a:gdLst>
                    <a:gd name="T0" fmla="*/ 3 w 63"/>
                    <a:gd name="T1" fmla="*/ 37 h 37"/>
                    <a:gd name="T2" fmla="*/ 0 w 63"/>
                    <a:gd name="T3" fmla="*/ 7 h 37"/>
                    <a:gd name="T4" fmla="*/ 59 w 63"/>
                    <a:gd name="T5" fmla="*/ 0 h 37"/>
                    <a:gd name="T6" fmla="*/ 63 w 63"/>
                    <a:gd name="T7" fmla="*/ 31 h 37"/>
                    <a:gd name="T8" fmla="*/ 3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3" y="37"/>
                      </a:moveTo>
                      <a:lnTo>
                        <a:pt x="0" y="7"/>
                      </a:lnTo>
                      <a:lnTo>
                        <a:pt x="59" y="0"/>
                      </a:lnTo>
                      <a:lnTo>
                        <a:pt x="63" y="31"/>
                      </a:lnTo>
                      <a:lnTo>
                        <a:pt x="3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Freeform 260">
                  <a:extLst>
                    <a:ext uri="{FF2B5EF4-FFF2-40B4-BE49-F238E27FC236}">
                      <a16:creationId xmlns:a16="http://schemas.microsoft.com/office/drawing/2014/main" id="{3FAB6C50-BDDE-45C0-926C-7837C8FA7B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85301" y="3157538"/>
                  <a:ext cx="100013" cy="58738"/>
                </a:xfrm>
                <a:custGeom>
                  <a:avLst/>
                  <a:gdLst>
                    <a:gd name="T0" fmla="*/ 59 w 63"/>
                    <a:gd name="T1" fmla="*/ 37 h 37"/>
                    <a:gd name="T2" fmla="*/ 0 w 63"/>
                    <a:gd name="T3" fmla="*/ 31 h 37"/>
                    <a:gd name="T4" fmla="*/ 3 w 63"/>
                    <a:gd name="T5" fmla="*/ 0 h 37"/>
                    <a:gd name="T6" fmla="*/ 63 w 63"/>
                    <a:gd name="T7" fmla="*/ 7 h 37"/>
                    <a:gd name="T8" fmla="*/ 59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59" y="37"/>
                      </a:moveTo>
                      <a:lnTo>
                        <a:pt x="0" y="31"/>
                      </a:lnTo>
                      <a:lnTo>
                        <a:pt x="3" y="0"/>
                      </a:lnTo>
                      <a:lnTo>
                        <a:pt x="63" y="7"/>
                      </a:lnTo>
                      <a:lnTo>
                        <a:pt x="59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Freeform 261">
                  <a:extLst>
                    <a:ext uri="{FF2B5EF4-FFF2-40B4-BE49-F238E27FC236}">
                      <a16:creationId xmlns:a16="http://schemas.microsoft.com/office/drawing/2014/main" id="{47D663F0-8018-44F9-80F0-01A8B6986E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44026" y="3327401"/>
                  <a:ext cx="106363" cy="76200"/>
                </a:xfrm>
                <a:custGeom>
                  <a:avLst/>
                  <a:gdLst>
                    <a:gd name="T0" fmla="*/ 57 w 67"/>
                    <a:gd name="T1" fmla="*/ 48 h 48"/>
                    <a:gd name="T2" fmla="*/ 0 w 67"/>
                    <a:gd name="T3" fmla="*/ 28 h 48"/>
                    <a:gd name="T4" fmla="*/ 9 w 67"/>
                    <a:gd name="T5" fmla="*/ 0 h 48"/>
                    <a:gd name="T6" fmla="*/ 67 w 67"/>
                    <a:gd name="T7" fmla="*/ 19 h 48"/>
                    <a:gd name="T8" fmla="*/ 57 w 67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48">
                      <a:moveTo>
                        <a:pt x="57" y="48"/>
                      </a:moveTo>
                      <a:lnTo>
                        <a:pt x="0" y="28"/>
                      </a:lnTo>
                      <a:lnTo>
                        <a:pt x="9" y="0"/>
                      </a:lnTo>
                      <a:lnTo>
                        <a:pt x="67" y="19"/>
                      </a:lnTo>
                      <a:lnTo>
                        <a:pt x="57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Freeform 262">
                  <a:extLst>
                    <a:ext uri="{FF2B5EF4-FFF2-40B4-BE49-F238E27FC236}">
                      <a16:creationId xmlns:a16="http://schemas.microsoft.com/office/drawing/2014/main" id="{0101A9CE-A12E-44DC-AD06-F6FE1A728F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271001" y="3486151"/>
                  <a:ext cx="104775" cy="92075"/>
                </a:xfrm>
                <a:custGeom>
                  <a:avLst/>
                  <a:gdLst>
                    <a:gd name="T0" fmla="*/ 51 w 66"/>
                    <a:gd name="T1" fmla="*/ 58 h 58"/>
                    <a:gd name="T2" fmla="*/ 0 w 66"/>
                    <a:gd name="T3" fmla="*/ 26 h 58"/>
                    <a:gd name="T4" fmla="*/ 14 w 66"/>
                    <a:gd name="T5" fmla="*/ 0 h 58"/>
                    <a:gd name="T6" fmla="*/ 66 w 66"/>
                    <a:gd name="T7" fmla="*/ 30 h 58"/>
                    <a:gd name="T8" fmla="*/ 51 w 66"/>
                    <a:gd name="T9" fmla="*/ 5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58">
                      <a:moveTo>
                        <a:pt x="51" y="58"/>
                      </a:moveTo>
                      <a:lnTo>
                        <a:pt x="0" y="26"/>
                      </a:lnTo>
                      <a:lnTo>
                        <a:pt x="14" y="0"/>
                      </a:lnTo>
                      <a:lnTo>
                        <a:pt x="66" y="30"/>
                      </a:lnTo>
                      <a:lnTo>
                        <a:pt x="51" y="5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1" name="Freeform 263">
                  <a:extLst>
                    <a:ext uri="{FF2B5EF4-FFF2-40B4-BE49-F238E27FC236}">
                      <a16:creationId xmlns:a16="http://schemas.microsoft.com/office/drawing/2014/main" id="{13CE1013-3E66-434C-A86D-CC70498A1A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64638" y="3627438"/>
                  <a:ext cx="103188" cy="100013"/>
                </a:xfrm>
                <a:custGeom>
                  <a:avLst/>
                  <a:gdLst>
                    <a:gd name="T0" fmla="*/ 44 w 65"/>
                    <a:gd name="T1" fmla="*/ 63 h 63"/>
                    <a:gd name="T2" fmla="*/ 0 w 65"/>
                    <a:gd name="T3" fmla="*/ 24 h 63"/>
                    <a:gd name="T4" fmla="*/ 20 w 65"/>
                    <a:gd name="T5" fmla="*/ 0 h 63"/>
                    <a:gd name="T6" fmla="*/ 65 w 65"/>
                    <a:gd name="T7" fmla="*/ 41 h 63"/>
                    <a:gd name="T8" fmla="*/ 44 w 65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5" h="63">
                      <a:moveTo>
                        <a:pt x="44" y="63"/>
                      </a:moveTo>
                      <a:lnTo>
                        <a:pt x="0" y="24"/>
                      </a:lnTo>
                      <a:lnTo>
                        <a:pt x="20" y="0"/>
                      </a:lnTo>
                      <a:lnTo>
                        <a:pt x="65" y="41"/>
                      </a:lnTo>
                      <a:lnTo>
                        <a:pt x="44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2" name="Freeform 264">
                  <a:extLst>
                    <a:ext uri="{FF2B5EF4-FFF2-40B4-BE49-F238E27FC236}">
                      <a16:creationId xmlns:a16="http://schemas.microsoft.com/office/drawing/2014/main" id="{8E6176CC-397B-4CA1-985C-7F8F098D30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31288" y="3748088"/>
                  <a:ext cx="98425" cy="106363"/>
                </a:xfrm>
                <a:custGeom>
                  <a:avLst/>
                  <a:gdLst>
                    <a:gd name="T0" fmla="*/ 37 w 62"/>
                    <a:gd name="T1" fmla="*/ 67 h 67"/>
                    <a:gd name="T2" fmla="*/ 0 w 62"/>
                    <a:gd name="T3" fmla="*/ 17 h 67"/>
                    <a:gd name="T4" fmla="*/ 26 w 62"/>
                    <a:gd name="T5" fmla="*/ 0 h 67"/>
                    <a:gd name="T6" fmla="*/ 62 w 62"/>
                    <a:gd name="T7" fmla="*/ 48 h 67"/>
                    <a:gd name="T8" fmla="*/ 37 w 62"/>
                    <a:gd name="T9" fmla="*/ 67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2" h="67">
                      <a:moveTo>
                        <a:pt x="37" y="67"/>
                      </a:moveTo>
                      <a:lnTo>
                        <a:pt x="0" y="17"/>
                      </a:lnTo>
                      <a:lnTo>
                        <a:pt x="26" y="0"/>
                      </a:lnTo>
                      <a:lnTo>
                        <a:pt x="62" y="48"/>
                      </a:lnTo>
                      <a:lnTo>
                        <a:pt x="37" y="6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3" name="Freeform 265">
                  <a:extLst>
                    <a:ext uri="{FF2B5EF4-FFF2-40B4-BE49-F238E27FC236}">
                      <a16:creationId xmlns:a16="http://schemas.microsoft.com/office/drawing/2014/main" id="{62E95CCC-CC2C-45B4-BF48-0CB536D00C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55013" y="2192338"/>
                  <a:ext cx="65088" cy="103188"/>
                </a:xfrm>
                <a:custGeom>
                  <a:avLst/>
                  <a:gdLst>
                    <a:gd name="T0" fmla="*/ 11 w 41"/>
                    <a:gd name="T1" fmla="*/ 65 h 65"/>
                    <a:gd name="T2" fmla="*/ 0 w 41"/>
                    <a:gd name="T3" fmla="*/ 6 h 65"/>
                    <a:gd name="T4" fmla="*/ 30 w 41"/>
                    <a:gd name="T5" fmla="*/ 0 h 65"/>
                    <a:gd name="T6" fmla="*/ 41 w 41"/>
                    <a:gd name="T7" fmla="*/ 59 h 65"/>
                    <a:gd name="T8" fmla="*/ 11 w 41"/>
                    <a:gd name="T9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1" h="65">
                      <a:moveTo>
                        <a:pt x="11" y="65"/>
                      </a:moveTo>
                      <a:lnTo>
                        <a:pt x="0" y="6"/>
                      </a:lnTo>
                      <a:lnTo>
                        <a:pt x="30" y="0"/>
                      </a:lnTo>
                      <a:lnTo>
                        <a:pt x="41" y="59"/>
                      </a:lnTo>
                      <a:lnTo>
                        <a:pt x="11" y="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Freeform 266">
                  <a:extLst>
                    <a:ext uri="{FF2B5EF4-FFF2-40B4-BE49-F238E27FC236}">
                      <a16:creationId xmlns:a16="http://schemas.microsoft.com/office/drawing/2014/main" id="{0C70349C-B12D-4A72-A795-29BFCAA01D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72451" y="2244726"/>
                  <a:ext cx="82550" cy="109538"/>
                </a:xfrm>
                <a:custGeom>
                  <a:avLst/>
                  <a:gdLst>
                    <a:gd name="T0" fmla="*/ 24 w 52"/>
                    <a:gd name="T1" fmla="*/ 69 h 69"/>
                    <a:gd name="T2" fmla="*/ 0 w 52"/>
                    <a:gd name="T3" fmla="*/ 13 h 69"/>
                    <a:gd name="T4" fmla="*/ 28 w 52"/>
                    <a:gd name="T5" fmla="*/ 0 h 69"/>
                    <a:gd name="T6" fmla="*/ 52 w 52"/>
                    <a:gd name="T7" fmla="*/ 56 h 69"/>
                    <a:gd name="T8" fmla="*/ 24 w 52"/>
                    <a:gd name="T9" fmla="*/ 69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2" h="69">
                      <a:moveTo>
                        <a:pt x="24" y="69"/>
                      </a:moveTo>
                      <a:lnTo>
                        <a:pt x="0" y="13"/>
                      </a:lnTo>
                      <a:lnTo>
                        <a:pt x="28" y="0"/>
                      </a:lnTo>
                      <a:lnTo>
                        <a:pt x="52" y="56"/>
                      </a:lnTo>
                      <a:lnTo>
                        <a:pt x="24" y="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5" name="Freeform 267">
                  <a:extLst>
                    <a:ext uri="{FF2B5EF4-FFF2-40B4-BE49-F238E27FC236}">
                      <a16:creationId xmlns:a16="http://schemas.microsoft.com/office/drawing/2014/main" id="{54AA60F1-EA14-4143-BBC2-403E43DB1E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08938" y="2339976"/>
                  <a:ext cx="96838" cy="104775"/>
                </a:xfrm>
                <a:custGeom>
                  <a:avLst/>
                  <a:gdLst>
                    <a:gd name="T0" fmla="*/ 37 w 61"/>
                    <a:gd name="T1" fmla="*/ 66 h 66"/>
                    <a:gd name="T2" fmla="*/ 0 w 61"/>
                    <a:gd name="T3" fmla="*/ 16 h 66"/>
                    <a:gd name="T4" fmla="*/ 26 w 61"/>
                    <a:gd name="T5" fmla="*/ 0 h 66"/>
                    <a:gd name="T6" fmla="*/ 61 w 61"/>
                    <a:gd name="T7" fmla="*/ 48 h 66"/>
                    <a:gd name="T8" fmla="*/ 37 w 61"/>
                    <a:gd name="T9" fmla="*/ 66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1" h="66">
                      <a:moveTo>
                        <a:pt x="37" y="66"/>
                      </a:moveTo>
                      <a:lnTo>
                        <a:pt x="0" y="16"/>
                      </a:lnTo>
                      <a:lnTo>
                        <a:pt x="26" y="0"/>
                      </a:lnTo>
                      <a:lnTo>
                        <a:pt x="61" y="48"/>
                      </a:lnTo>
                      <a:lnTo>
                        <a:pt x="37" y="6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6" name="Freeform 268">
                  <a:extLst>
                    <a:ext uri="{FF2B5EF4-FFF2-40B4-BE49-F238E27FC236}">
                      <a16:creationId xmlns:a16="http://schemas.microsoft.com/office/drawing/2014/main" id="{6A9FE813-E6B8-4C88-B669-F9DD4D594F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70826" y="2462213"/>
                  <a:ext cx="101600" cy="100013"/>
                </a:xfrm>
                <a:custGeom>
                  <a:avLst/>
                  <a:gdLst>
                    <a:gd name="T0" fmla="*/ 44 w 64"/>
                    <a:gd name="T1" fmla="*/ 63 h 63"/>
                    <a:gd name="T2" fmla="*/ 0 w 64"/>
                    <a:gd name="T3" fmla="*/ 23 h 63"/>
                    <a:gd name="T4" fmla="*/ 20 w 64"/>
                    <a:gd name="T5" fmla="*/ 0 h 63"/>
                    <a:gd name="T6" fmla="*/ 64 w 64"/>
                    <a:gd name="T7" fmla="*/ 41 h 63"/>
                    <a:gd name="T8" fmla="*/ 44 w 64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63">
                      <a:moveTo>
                        <a:pt x="44" y="63"/>
                      </a:moveTo>
                      <a:lnTo>
                        <a:pt x="0" y="23"/>
                      </a:lnTo>
                      <a:lnTo>
                        <a:pt x="20" y="0"/>
                      </a:lnTo>
                      <a:lnTo>
                        <a:pt x="64" y="41"/>
                      </a:lnTo>
                      <a:lnTo>
                        <a:pt x="44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7" name="Freeform 269">
                  <a:extLst>
                    <a:ext uri="{FF2B5EF4-FFF2-40B4-BE49-F238E27FC236}">
                      <a16:creationId xmlns:a16="http://schemas.microsoft.com/office/drawing/2014/main" id="{603A3DBC-6ECA-4B3E-A67C-A80CC97937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61288" y="2616201"/>
                  <a:ext cx="106363" cy="87313"/>
                </a:xfrm>
                <a:custGeom>
                  <a:avLst/>
                  <a:gdLst>
                    <a:gd name="T0" fmla="*/ 52 w 67"/>
                    <a:gd name="T1" fmla="*/ 55 h 55"/>
                    <a:gd name="T2" fmla="*/ 0 w 67"/>
                    <a:gd name="T3" fmla="*/ 26 h 55"/>
                    <a:gd name="T4" fmla="*/ 15 w 67"/>
                    <a:gd name="T5" fmla="*/ 0 h 55"/>
                    <a:gd name="T6" fmla="*/ 67 w 67"/>
                    <a:gd name="T7" fmla="*/ 29 h 55"/>
                    <a:gd name="T8" fmla="*/ 52 w 67"/>
                    <a:gd name="T9" fmla="*/ 55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55">
                      <a:moveTo>
                        <a:pt x="52" y="55"/>
                      </a:moveTo>
                      <a:lnTo>
                        <a:pt x="0" y="26"/>
                      </a:lnTo>
                      <a:lnTo>
                        <a:pt x="15" y="0"/>
                      </a:lnTo>
                      <a:lnTo>
                        <a:pt x="67" y="29"/>
                      </a:lnTo>
                      <a:lnTo>
                        <a:pt x="52" y="5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8" name="Freeform 270">
                  <a:extLst>
                    <a:ext uri="{FF2B5EF4-FFF2-40B4-BE49-F238E27FC236}">
                      <a16:creationId xmlns:a16="http://schemas.microsoft.com/office/drawing/2014/main" id="{0F7E6AE9-98CA-4620-AB33-54F1E0AB17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88263" y="2789238"/>
                  <a:ext cx="104775" cy="76200"/>
                </a:xfrm>
                <a:custGeom>
                  <a:avLst/>
                  <a:gdLst>
                    <a:gd name="T0" fmla="*/ 57 w 66"/>
                    <a:gd name="T1" fmla="*/ 48 h 48"/>
                    <a:gd name="T2" fmla="*/ 0 w 66"/>
                    <a:gd name="T3" fmla="*/ 28 h 48"/>
                    <a:gd name="T4" fmla="*/ 9 w 66"/>
                    <a:gd name="T5" fmla="*/ 0 h 48"/>
                    <a:gd name="T6" fmla="*/ 66 w 66"/>
                    <a:gd name="T7" fmla="*/ 19 h 48"/>
                    <a:gd name="T8" fmla="*/ 57 w 66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48">
                      <a:moveTo>
                        <a:pt x="57" y="48"/>
                      </a:moveTo>
                      <a:lnTo>
                        <a:pt x="0" y="28"/>
                      </a:lnTo>
                      <a:lnTo>
                        <a:pt x="9" y="0"/>
                      </a:lnTo>
                      <a:lnTo>
                        <a:pt x="66" y="19"/>
                      </a:lnTo>
                      <a:lnTo>
                        <a:pt x="57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9" name="Freeform 271">
                  <a:extLst>
                    <a:ext uri="{FF2B5EF4-FFF2-40B4-BE49-F238E27FC236}">
                      <a16:creationId xmlns:a16="http://schemas.microsoft.com/office/drawing/2014/main" id="{25BBFA28-CF4E-4B44-8A5A-FD93F243A2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51751" y="2974976"/>
                  <a:ext cx="100013" cy="58738"/>
                </a:xfrm>
                <a:custGeom>
                  <a:avLst/>
                  <a:gdLst>
                    <a:gd name="T0" fmla="*/ 60 w 63"/>
                    <a:gd name="T1" fmla="*/ 37 h 37"/>
                    <a:gd name="T2" fmla="*/ 0 w 63"/>
                    <a:gd name="T3" fmla="*/ 31 h 37"/>
                    <a:gd name="T4" fmla="*/ 4 w 63"/>
                    <a:gd name="T5" fmla="*/ 0 h 37"/>
                    <a:gd name="T6" fmla="*/ 63 w 63"/>
                    <a:gd name="T7" fmla="*/ 7 h 37"/>
                    <a:gd name="T8" fmla="*/ 60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60" y="37"/>
                      </a:moveTo>
                      <a:lnTo>
                        <a:pt x="0" y="31"/>
                      </a:lnTo>
                      <a:lnTo>
                        <a:pt x="4" y="0"/>
                      </a:lnTo>
                      <a:lnTo>
                        <a:pt x="63" y="7"/>
                      </a:lnTo>
                      <a:lnTo>
                        <a:pt x="60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0" name="Freeform 272">
                  <a:extLst>
                    <a:ext uri="{FF2B5EF4-FFF2-40B4-BE49-F238E27FC236}">
                      <a16:creationId xmlns:a16="http://schemas.microsoft.com/office/drawing/2014/main" id="{7A84640E-2B53-4CC9-9204-FB7F96CBC0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51751" y="3157538"/>
                  <a:ext cx="100013" cy="58738"/>
                </a:xfrm>
                <a:custGeom>
                  <a:avLst/>
                  <a:gdLst>
                    <a:gd name="T0" fmla="*/ 4 w 63"/>
                    <a:gd name="T1" fmla="*/ 37 h 37"/>
                    <a:gd name="T2" fmla="*/ 0 w 63"/>
                    <a:gd name="T3" fmla="*/ 7 h 37"/>
                    <a:gd name="T4" fmla="*/ 60 w 63"/>
                    <a:gd name="T5" fmla="*/ 0 h 37"/>
                    <a:gd name="T6" fmla="*/ 63 w 63"/>
                    <a:gd name="T7" fmla="*/ 31 h 37"/>
                    <a:gd name="T8" fmla="*/ 4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4" y="37"/>
                      </a:moveTo>
                      <a:lnTo>
                        <a:pt x="0" y="7"/>
                      </a:lnTo>
                      <a:lnTo>
                        <a:pt x="60" y="0"/>
                      </a:lnTo>
                      <a:lnTo>
                        <a:pt x="63" y="31"/>
                      </a:lnTo>
                      <a:lnTo>
                        <a:pt x="4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1" name="Freeform 273">
                  <a:extLst>
                    <a:ext uri="{FF2B5EF4-FFF2-40B4-BE49-F238E27FC236}">
                      <a16:creationId xmlns:a16="http://schemas.microsoft.com/office/drawing/2014/main" id="{C6794764-EA44-4A35-B42E-D05D12C03F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88263" y="3327401"/>
                  <a:ext cx="104775" cy="76200"/>
                </a:xfrm>
                <a:custGeom>
                  <a:avLst/>
                  <a:gdLst>
                    <a:gd name="T0" fmla="*/ 9 w 66"/>
                    <a:gd name="T1" fmla="*/ 48 h 48"/>
                    <a:gd name="T2" fmla="*/ 0 w 66"/>
                    <a:gd name="T3" fmla="*/ 19 h 48"/>
                    <a:gd name="T4" fmla="*/ 57 w 66"/>
                    <a:gd name="T5" fmla="*/ 0 h 48"/>
                    <a:gd name="T6" fmla="*/ 66 w 66"/>
                    <a:gd name="T7" fmla="*/ 30 h 48"/>
                    <a:gd name="T8" fmla="*/ 9 w 66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48">
                      <a:moveTo>
                        <a:pt x="9" y="48"/>
                      </a:moveTo>
                      <a:lnTo>
                        <a:pt x="0" y="19"/>
                      </a:lnTo>
                      <a:lnTo>
                        <a:pt x="57" y="0"/>
                      </a:lnTo>
                      <a:lnTo>
                        <a:pt x="66" y="30"/>
                      </a:lnTo>
                      <a:lnTo>
                        <a:pt x="9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Freeform 274">
                  <a:extLst>
                    <a:ext uri="{FF2B5EF4-FFF2-40B4-BE49-F238E27FC236}">
                      <a16:creationId xmlns:a16="http://schemas.microsoft.com/office/drawing/2014/main" id="{ECABC25A-4518-4111-9BA8-1DD818093C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61288" y="3486151"/>
                  <a:ext cx="106363" cy="92075"/>
                </a:xfrm>
                <a:custGeom>
                  <a:avLst/>
                  <a:gdLst>
                    <a:gd name="T0" fmla="*/ 15 w 67"/>
                    <a:gd name="T1" fmla="*/ 58 h 58"/>
                    <a:gd name="T2" fmla="*/ 0 w 67"/>
                    <a:gd name="T3" fmla="*/ 30 h 58"/>
                    <a:gd name="T4" fmla="*/ 52 w 67"/>
                    <a:gd name="T5" fmla="*/ 0 h 58"/>
                    <a:gd name="T6" fmla="*/ 67 w 67"/>
                    <a:gd name="T7" fmla="*/ 26 h 58"/>
                    <a:gd name="T8" fmla="*/ 15 w 67"/>
                    <a:gd name="T9" fmla="*/ 5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58">
                      <a:moveTo>
                        <a:pt x="15" y="58"/>
                      </a:moveTo>
                      <a:lnTo>
                        <a:pt x="0" y="30"/>
                      </a:lnTo>
                      <a:lnTo>
                        <a:pt x="52" y="0"/>
                      </a:lnTo>
                      <a:lnTo>
                        <a:pt x="67" y="26"/>
                      </a:lnTo>
                      <a:lnTo>
                        <a:pt x="15" y="5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3" name="Freeform 275">
                  <a:extLst>
                    <a:ext uri="{FF2B5EF4-FFF2-40B4-BE49-F238E27FC236}">
                      <a16:creationId xmlns:a16="http://schemas.microsoft.com/office/drawing/2014/main" id="{973AFCC4-A50F-4B89-9F66-FAF5189135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70826" y="3627438"/>
                  <a:ext cx="101600" cy="100013"/>
                </a:xfrm>
                <a:custGeom>
                  <a:avLst/>
                  <a:gdLst>
                    <a:gd name="T0" fmla="*/ 20 w 64"/>
                    <a:gd name="T1" fmla="*/ 63 h 63"/>
                    <a:gd name="T2" fmla="*/ 0 w 64"/>
                    <a:gd name="T3" fmla="*/ 41 h 63"/>
                    <a:gd name="T4" fmla="*/ 44 w 64"/>
                    <a:gd name="T5" fmla="*/ 0 h 63"/>
                    <a:gd name="T6" fmla="*/ 64 w 64"/>
                    <a:gd name="T7" fmla="*/ 24 h 63"/>
                    <a:gd name="T8" fmla="*/ 20 w 64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63">
                      <a:moveTo>
                        <a:pt x="20" y="63"/>
                      </a:moveTo>
                      <a:lnTo>
                        <a:pt x="0" y="41"/>
                      </a:lnTo>
                      <a:lnTo>
                        <a:pt x="44" y="0"/>
                      </a:lnTo>
                      <a:lnTo>
                        <a:pt x="64" y="24"/>
                      </a:lnTo>
                      <a:lnTo>
                        <a:pt x="20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4" name="Freeform 276">
                  <a:extLst>
                    <a:ext uri="{FF2B5EF4-FFF2-40B4-BE49-F238E27FC236}">
                      <a16:creationId xmlns:a16="http://schemas.microsoft.com/office/drawing/2014/main" id="{045645C6-3246-40C3-8BB4-A7D1CC944C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08938" y="3748088"/>
                  <a:ext cx="96838" cy="106363"/>
                </a:xfrm>
                <a:custGeom>
                  <a:avLst/>
                  <a:gdLst>
                    <a:gd name="T0" fmla="*/ 26 w 61"/>
                    <a:gd name="T1" fmla="*/ 67 h 67"/>
                    <a:gd name="T2" fmla="*/ 0 w 61"/>
                    <a:gd name="T3" fmla="*/ 48 h 67"/>
                    <a:gd name="T4" fmla="*/ 37 w 61"/>
                    <a:gd name="T5" fmla="*/ 0 h 67"/>
                    <a:gd name="T6" fmla="*/ 61 w 61"/>
                    <a:gd name="T7" fmla="*/ 17 h 67"/>
                    <a:gd name="T8" fmla="*/ 26 w 61"/>
                    <a:gd name="T9" fmla="*/ 67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1" h="67">
                      <a:moveTo>
                        <a:pt x="26" y="67"/>
                      </a:moveTo>
                      <a:lnTo>
                        <a:pt x="0" y="48"/>
                      </a:lnTo>
                      <a:lnTo>
                        <a:pt x="37" y="0"/>
                      </a:lnTo>
                      <a:lnTo>
                        <a:pt x="61" y="17"/>
                      </a:lnTo>
                      <a:lnTo>
                        <a:pt x="26" y="6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BFBFF1D-6A37-45C6-ACD9-C2169BB03779}"/>
                </a:ext>
              </a:extLst>
            </p:cNvPr>
            <p:cNvSpPr/>
            <p:nvPr/>
          </p:nvSpPr>
          <p:spPr>
            <a:xfrm>
              <a:off x="6953285" y="4801999"/>
              <a:ext cx="1476883" cy="12651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endParaRPr>
            </a:p>
          </p:txBody>
        </p:sp>
      </p:grp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F04A6D5B-C512-43F6-8853-D13870CA10B3}"/>
              </a:ext>
            </a:extLst>
          </p:cNvPr>
          <p:cNvCxnSpPr>
            <a:cxnSpLocks/>
            <a:stCxn id="7" idx="56"/>
          </p:cNvCxnSpPr>
          <p:nvPr userDrawn="1"/>
        </p:nvCxnSpPr>
        <p:spPr>
          <a:xfrm>
            <a:off x="6691605" y="4968552"/>
            <a:ext cx="2452396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0358A89B-C4A0-4BF6-A7C2-3F1B9632BFBB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628982"/>
            <a:ext cx="5920662" cy="8099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D8A7A6F7-5F58-448E-ABB3-AECDCAC6588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4376" y="1206501"/>
            <a:ext cx="4002881" cy="2257425"/>
          </a:xfrm>
        </p:spPr>
        <p:txBody>
          <a:bodyPr/>
          <a:lstStyle>
            <a:lvl1pPr marL="0" indent="0">
              <a:buNone/>
              <a:defRPr sz="4950">
                <a:latin typeface="+mj-lt"/>
              </a:defRPr>
            </a:lvl1pPr>
          </a:lstStyle>
          <a:p>
            <a:pPr lvl="0"/>
            <a:r>
              <a:rPr lang="en-US" sz="4950">
                <a:latin typeface="+mj-lt"/>
              </a:rPr>
              <a:t>Section Heade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02666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, No Background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EFC2F98-5944-4C9B-A2C3-BF4DC0C7C3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854556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4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EFC2F98-5944-4C9B-A2C3-BF4DC0C7C3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8">
            <a:extLst>
              <a:ext uri="{FF2B5EF4-FFF2-40B4-BE49-F238E27FC236}">
                <a16:creationId xmlns:a16="http://schemas.microsoft.com/office/drawing/2014/main" id="{F111BD23-73BE-4E85-BB2D-3108FA8C3932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534150"/>
            <a:ext cx="213360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5595"/>
                </a:solidFill>
                <a:latin typeface="+mn-lt"/>
              </a:defRPr>
            </a:lvl1pPr>
          </a:lstStyle>
          <a:p>
            <a:fld id="{4992160A-B009-4DF0-9663-DC50E3E3959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401166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>
            <a:extLst>
              <a:ext uri="{FF2B5EF4-FFF2-40B4-BE49-F238E27FC236}">
                <a16:creationId xmlns:a16="http://schemas.microsoft.com/office/drawing/2014/main" id="{E0A85609-BAE6-4982-B1B6-8A03C3B445C7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534150"/>
            <a:ext cx="213360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5595"/>
                </a:solidFill>
                <a:latin typeface="+mn-lt"/>
              </a:defRPr>
            </a:lvl1pPr>
          </a:lstStyle>
          <a:p>
            <a:fld id="{4992160A-B009-4DF0-9663-DC50E3E3959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778483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>
            <a:extLst>
              <a:ext uri="{FF2B5EF4-FFF2-40B4-BE49-F238E27FC236}">
                <a16:creationId xmlns:a16="http://schemas.microsoft.com/office/drawing/2014/main" id="{D040BAC7-9E8D-4386-90FE-A40226B1BA0E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534150"/>
            <a:ext cx="213360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5595"/>
                </a:solidFill>
                <a:latin typeface="+mn-lt"/>
              </a:defRPr>
            </a:lvl1pPr>
          </a:lstStyle>
          <a:p>
            <a:fld id="{4992160A-B009-4DF0-9663-DC50E3E3959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763025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51" name="Picture 7">
            <a:extLst>
              <a:ext uri="{FF2B5EF4-FFF2-40B4-BE49-F238E27FC236}">
                <a16:creationId xmlns:a16="http://schemas.microsoft.com/office/drawing/2014/main" id="{C061AB41-B8E5-4DF3-A971-84D53E5AAC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5588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46" name="Rectangle 2">
            <a:extLst>
              <a:ext uri="{FF2B5EF4-FFF2-40B4-BE49-F238E27FC236}">
                <a16:creationId xmlns:a16="http://schemas.microsoft.com/office/drawing/2014/main" id="{65F52A8B-4B28-459C-B0FA-97EC6046C22F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685800" y="682627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altLang="en-US" noProof="0"/>
              <a:t>Title</a:t>
            </a:r>
          </a:p>
        </p:txBody>
      </p:sp>
      <p:sp>
        <p:nvSpPr>
          <p:cNvPr id="6147" name="Rectangle 3">
            <a:extLst>
              <a:ext uri="{FF2B5EF4-FFF2-40B4-BE49-F238E27FC236}">
                <a16:creationId xmlns:a16="http://schemas.microsoft.com/office/drawing/2014/main" id="{55B89B5C-C7B7-4E97-B820-767597950C4D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1371600" y="24384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1050"/>
            </a:lvl1pPr>
          </a:lstStyle>
          <a:p>
            <a:pPr lvl="0"/>
            <a:r>
              <a:rPr lang="en-US" altLang="en-US" noProof="0"/>
              <a:t>Click to edit Master subtitle style</a:t>
            </a:r>
          </a:p>
        </p:txBody>
      </p:sp>
      <p:sp>
        <p:nvSpPr>
          <p:cNvPr id="6149" name="Rectangle 5">
            <a:extLst>
              <a:ext uri="{FF2B5EF4-FFF2-40B4-BE49-F238E27FC236}">
                <a16:creationId xmlns:a16="http://schemas.microsoft.com/office/drawing/2014/main" id="{91B404A0-B154-4B51-BDB4-8C8C244EF3A3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>
          <a:xfrm>
            <a:off x="2895600" y="6096000"/>
            <a:ext cx="2895600" cy="476250"/>
          </a:xfrm>
        </p:spPr>
        <p:txBody>
          <a:bodyPr/>
          <a:lstStyle>
            <a:lvl1pPr algn="l" eaLnBrk="0" hangingPunct="0">
              <a:spcBef>
                <a:spcPct val="50000"/>
              </a:spcBef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0057959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353C86-9996-4BB4-980B-7D8A638BD6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628394-2F5C-45A3-8A44-025757D438E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394E22-D432-4A43-ACD1-7E985697B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57C58B-54E1-4ACA-895D-C845CB3B8AA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D26A203-415D-4398-8C79-721B06B11C49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17B573E-4F55-473A-91D4-03A1E23FAC2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877367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129712D-99B4-4A1B-A104-7124243888D5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627405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FE8CB8-4430-4404-B0C9-EA603E5CFE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40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3188CD-29FC-4BB0-A870-93508F388E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5"/>
            <a:ext cx="7886700" cy="1500187"/>
          </a:xfrm>
        </p:spPr>
        <p:txBody>
          <a:bodyPr/>
          <a:lstStyle>
            <a:lvl1pPr marL="0" indent="0">
              <a:buNone/>
              <a:defRPr sz="1800"/>
            </a:lvl1pPr>
            <a:lvl2pPr marL="342900" indent="0">
              <a:buNone/>
              <a:defRPr sz="1500"/>
            </a:lvl2pPr>
            <a:lvl3pPr marL="685800" indent="0">
              <a:buNone/>
              <a:defRPr sz="135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A28D91-6907-474A-93FC-283CC86B89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C4F52F-8792-434D-8F0C-5DD3548BB8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B73CF502-A19F-4F9E-B9AF-4CF6F5F719D5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9742B5F-FAA6-4C0B-B513-3D341CE66BF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7318414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931687-0B0F-4A37-B99A-1E3A835248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6CD9B6-F70F-49EE-AFC4-020F1F07972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6730E46-4E50-46C0-8B6C-815EFA53C03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1005C85-040B-4485-8B8D-93D912E729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3E0537-CA43-46A4-9C79-014C8DBB89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6FE4703-2EA3-4979-BA5B-CD843B5540A8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5AAC1E0-F77D-42FA-BB58-921DCD0D25C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1429717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ED4DD2-DF26-4D39-A301-4B5B53E532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7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1AEC85-2BD6-41C8-BA6A-47CFA6AA18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9" y="1681163"/>
            <a:ext cx="3868737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673AD5C-64EB-40D9-8E58-05ED1CEC977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9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D496488-7552-4319-AFD7-B4D3D92DB7E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D233F98-2341-44F1-8EAD-E78AC34DB74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2D60AD0-45FD-4B56-84CA-E9158C63AF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18466AF-E417-4D47-8D19-D20AA23C32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6543770-14CB-457F-A33E-1A213EF32B84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00049BD-F57C-48B5-9C6F-8E5E88AC5D0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991865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7A4B58-3045-4A1B-A76B-7DE2C3978B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E87994F-B0A8-45F2-AA7C-74F9632442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F896FA-B925-438C-8A95-B328CEF84A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71B15ACB-7A7D-4BE9-9D7E-A065C88996FA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17D231-9BF6-4AFA-9650-8A7F526D928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4835647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CBE8EC2-C258-4209-9DCB-F233816F67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C73018F-B74B-4861-83F4-AD5D13DAA4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483F123-0FA1-4F4D-84E6-64A1235F38AF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70BCAC-982A-4E71-81D2-DF0CDC10F2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1977086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1F8592-031D-4395-9E83-1873F1485B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9" y="457200"/>
            <a:ext cx="2949575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3BF73E-BE26-4E72-BB6E-DB3CA168CF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7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9AB853-6DEA-4F13-8E6E-E85CFB65A72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9" y="2057400"/>
            <a:ext cx="2949575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6E8019D-98D5-492F-B59E-BDCD027418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095905-AF18-4783-B3BA-61656145EB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BA63A59-C370-4678-A474-58B095D7700C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C68C659-87FF-4BEE-9551-88487A15F12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8403924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698E96-BE71-447D-BCA9-23EC9DF4E2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9" y="457200"/>
            <a:ext cx="2949575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013B746-9E10-4D8B-B1D3-CFB2AFFD06D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7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27E88-87ED-415F-986A-ED61EC1DF37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9" y="2057400"/>
            <a:ext cx="2949575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3E0EDE-991F-4FDC-A0E0-D4D0337015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1E9A4D-219A-47A6-86EA-5DC4E1F20B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78924A8-427D-4656-8797-27427C18EEF5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CCCBF7F-506C-48D5-AA09-BC78BCA0601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2502291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E03BF8-3E79-4F67-9426-1C101F6AA6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19C8BDB-773E-4F10-BE9C-8C3E9F2BAB4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93CA58-35A3-4684-AD90-B7B020878A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DC3831F-4999-4E93-87A8-35C035E8FA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91FAA71-1056-475E-B27B-3B2C5050B23C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28FAF9F-013E-44B0-8C7E-455EF2E2E42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7218039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B44E308-05AD-43BB-A792-4C725ECAAB9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4403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4309D42-C672-4BFE-B4A5-4496B068B89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4403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8E7230-7B99-4CE2-82AD-9223BC116B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D53931-ADF6-4E0D-B830-C8DEF5651C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F84CF2B-39AD-4036-858D-34A781F06D74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D1D70A-6823-401F-889A-DBFEC7E6680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147801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620B12F-3AA2-41D6-BCED-9B854066AE1B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06417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9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5.png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6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18" Type="http://schemas.openxmlformats.org/officeDocument/2006/relationships/theme" Target="../theme/theme7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7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31" name="Picture 11" descr="Power Point Template PG 2 new sm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128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534150"/>
            <a:ext cx="213360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5595"/>
                </a:solidFill>
                <a:latin typeface="+mn-lt"/>
              </a:defRPr>
            </a:lvl1pPr>
          </a:lstStyle>
          <a:p>
            <a:fld id="{4992160A-B009-4DF0-9663-DC50E3E3959B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130" name="Rectangle 1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534150"/>
            <a:ext cx="289560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>
                <a:solidFill>
                  <a:srgbClr val="005595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204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2000">
          <a:solidFill>
            <a:srgbClr val="005595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>
          <a:solidFill>
            <a:srgbClr val="005595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1600">
          <a:solidFill>
            <a:srgbClr val="005595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1400">
          <a:solidFill>
            <a:srgbClr val="005595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rgbClr val="005595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rgbClr val="005595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rgbClr val="005595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rgbClr val="005595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rgbClr val="005595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2">
            <a:extLst>
              <a:ext uri="{FF2B5EF4-FFF2-40B4-BE49-F238E27FC236}">
                <a16:creationId xmlns:a16="http://schemas.microsoft.com/office/drawing/2014/main" id="{A37CFEF0-2F43-4B35-AF0C-91C90A5FFE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>
            <a:extLst>
              <a:ext uri="{FF2B5EF4-FFF2-40B4-BE49-F238E27FC236}">
                <a16:creationId xmlns:a16="http://schemas.microsoft.com/office/drawing/2014/main" id="{204C6B2E-D693-4916-A7DC-DD1A126E39F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8" name="Rectangle 3">
            <a:extLst>
              <a:ext uri="{FF2B5EF4-FFF2-40B4-BE49-F238E27FC236}">
                <a16:creationId xmlns:a16="http://schemas.microsoft.com/office/drawing/2014/main" id="{7A0CCD04-C0C8-49B3-B21B-7562F10B9E5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5124" name="Rectangle 4">
            <a:extLst>
              <a:ext uri="{FF2B5EF4-FFF2-40B4-BE49-F238E27FC236}">
                <a16:creationId xmlns:a16="http://schemas.microsoft.com/office/drawing/2014/main" id="{2B455721-776D-429C-81CA-F356B14D09A9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04800" y="5943600"/>
            <a:ext cx="3505200" cy="4762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50000"/>
              </a:spcBef>
              <a:defRPr sz="1200">
                <a:solidFill>
                  <a:srgbClr val="005595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128" name="Rectangle 8">
            <a:extLst>
              <a:ext uri="{FF2B5EF4-FFF2-40B4-BE49-F238E27FC236}">
                <a16:creationId xmlns:a16="http://schemas.microsoft.com/office/drawing/2014/main" id="{D64386F7-FDB8-4DA6-B596-8D2ED63F1E6A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477000"/>
            <a:ext cx="2133600" cy="2476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5595"/>
                </a:solidFill>
                <a:latin typeface="+mn-lt"/>
              </a:defRPr>
            </a:lvl1pPr>
          </a:lstStyle>
          <a:p>
            <a:pPr>
              <a:defRPr/>
            </a:pPr>
            <a:fld id="{13CCF6B3-45E4-4B48-9002-24D077BBF8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5130" name="Rectangle 10">
            <a:extLst>
              <a:ext uri="{FF2B5EF4-FFF2-40B4-BE49-F238E27FC236}">
                <a16:creationId xmlns:a16="http://schemas.microsoft.com/office/drawing/2014/main" id="{9E25C36A-23DB-4267-BFFB-46C36741D684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77000"/>
            <a:ext cx="2895600" cy="3238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>
                <a:solidFill>
                  <a:srgbClr val="005595"/>
                </a:solidFill>
                <a:latin typeface="+mn-lt"/>
              </a:defRPr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587722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rgbClr val="005595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000" kern="1200">
          <a:solidFill>
            <a:srgbClr val="005595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ern="1200">
          <a:solidFill>
            <a:srgbClr val="005595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600" kern="1200">
          <a:solidFill>
            <a:srgbClr val="005595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400" kern="1200">
          <a:solidFill>
            <a:srgbClr val="005595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400" kern="1200">
          <a:solidFill>
            <a:srgbClr val="005595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2">
            <a:extLst>
              <a:ext uri="{FF2B5EF4-FFF2-40B4-BE49-F238E27FC236}">
                <a16:creationId xmlns:a16="http://schemas.microsoft.com/office/drawing/2014/main" id="{5BC2EEB6-7A6F-4BDF-9397-092D92B2135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>
            <a:extLst>
              <a:ext uri="{FF2B5EF4-FFF2-40B4-BE49-F238E27FC236}">
                <a16:creationId xmlns:a16="http://schemas.microsoft.com/office/drawing/2014/main" id="{41396B50-AE96-46D2-84E9-B3525B5D250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8" name="Rectangle 3">
            <a:extLst>
              <a:ext uri="{FF2B5EF4-FFF2-40B4-BE49-F238E27FC236}">
                <a16:creationId xmlns:a16="http://schemas.microsoft.com/office/drawing/2014/main" id="{BEB759DC-4365-483D-8262-28157CA0890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5124" name="Rectangle 4">
            <a:extLst>
              <a:ext uri="{FF2B5EF4-FFF2-40B4-BE49-F238E27FC236}">
                <a16:creationId xmlns:a16="http://schemas.microsoft.com/office/drawing/2014/main" id="{6942FB78-7D8D-49B6-8295-E392C5D8F00B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04800" y="5943600"/>
            <a:ext cx="3505200" cy="4762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50000"/>
              </a:spcBef>
              <a:defRPr sz="1200">
                <a:solidFill>
                  <a:srgbClr val="005595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128" name="Rectangle 8">
            <a:extLst>
              <a:ext uri="{FF2B5EF4-FFF2-40B4-BE49-F238E27FC236}">
                <a16:creationId xmlns:a16="http://schemas.microsoft.com/office/drawing/2014/main" id="{D69860AE-CF5B-40FE-BEFE-31E7264AAA5E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477000"/>
            <a:ext cx="2133600" cy="2476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5595"/>
                </a:solidFill>
                <a:latin typeface="+mn-lt"/>
              </a:defRPr>
            </a:lvl1pPr>
          </a:lstStyle>
          <a:p>
            <a:pPr>
              <a:defRPr/>
            </a:pPr>
            <a:fld id="{1FC37301-0348-4DF8-9D95-2B92D39809C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5130" name="Rectangle 10">
            <a:extLst>
              <a:ext uri="{FF2B5EF4-FFF2-40B4-BE49-F238E27FC236}">
                <a16:creationId xmlns:a16="http://schemas.microsoft.com/office/drawing/2014/main" id="{8C750E91-A370-45BA-9F22-2CFD0721EF41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77000"/>
            <a:ext cx="2895600" cy="3238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>
                <a:solidFill>
                  <a:srgbClr val="005595"/>
                </a:solidFill>
                <a:latin typeface="+mn-lt"/>
              </a:defRPr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21496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rgbClr val="005595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000" kern="1200">
          <a:solidFill>
            <a:srgbClr val="005595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ern="1200">
          <a:solidFill>
            <a:srgbClr val="005595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600" kern="1200">
          <a:solidFill>
            <a:srgbClr val="005595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400" kern="1200">
          <a:solidFill>
            <a:srgbClr val="005595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400" kern="1200">
          <a:solidFill>
            <a:srgbClr val="005595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2" descr="Power Point Template PG 2 new sm">
            <a:extLst>
              <a:ext uri="{FF2B5EF4-FFF2-40B4-BE49-F238E27FC236}">
                <a16:creationId xmlns:a16="http://schemas.microsoft.com/office/drawing/2014/main" id="{D969D71B-E2C3-4AA0-ACEA-5BDF9BC5349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>
            <a:extLst>
              <a:ext uri="{FF2B5EF4-FFF2-40B4-BE49-F238E27FC236}">
                <a16:creationId xmlns:a16="http://schemas.microsoft.com/office/drawing/2014/main" id="{D8A54889-D698-4FE4-8EA8-D4EEB9B4C15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8" name="Rectangle 3">
            <a:extLst>
              <a:ext uri="{FF2B5EF4-FFF2-40B4-BE49-F238E27FC236}">
                <a16:creationId xmlns:a16="http://schemas.microsoft.com/office/drawing/2014/main" id="{9F115CCC-45DB-4DE6-BEA5-CF2BB4B790F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5124" name="Rectangle 4">
            <a:extLst>
              <a:ext uri="{FF2B5EF4-FFF2-40B4-BE49-F238E27FC236}">
                <a16:creationId xmlns:a16="http://schemas.microsoft.com/office/drawing/2014/main" id="{981F9947-6853-4972-B666-1D07EBFB7FBF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04800" y="5943600"/>
            <a:ext cx="3505200" cy="4762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50000"/>
              </a:spcBef>
              <a:defRPr sz="1200">
                <a:solidFill>
                  <a:srgbClr val="005595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altLang="en-US"/>
              <a:t>OREGON PUBLIC HEALTH DIVISION</a:t>
            </a:r>
            <a:br>
              <a:rPr lang="en-US" altLang="en-US"/>
            </a:br>
            <a:r>
              <a:rPr lang="en-US" altLang="en-US"/>
              <a:t>Acute &amp; Communicable Disease Prevention</a:t>
            </a:r>
          </a:p>
          <a:p>
            <a:pPr>
              <a:defRPr/>
            </a:pPr>
            <a:endParaRPr lang="en-US" altLang="en-US"/>
          </a:p>
        </p:txBody>
      </p:sp>
      <p:sp>
        <p:nvSpPr>
          <p:cNvPr id="5128" name="Rectangle 8">
            <a:extLst>
              <a:ext uri="{FF2B5EF4-FFF2-40B4-BE49-F238E27FC236}">
                <a16:creationId xmlns:a16="http://schemas.microsoft.com/office/drawing/2014/main" id="{20AFEF3B-9333-47CE-91AB-FF43A51DC1CF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477000"/>
            <a:ext cx="2133600" cy="2476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559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2BFB52D5-423E-42BE-9D47-90A6A3D865C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5130" name="Rectangle 10">
            <a:extLst>
              <a:ext uri="{FF2B5EF4-FFF2-40B4-BE49-F238E27FC236}">
                <a16:creationId xmlns:a16="http://schemas.microsoft.com/office/drawing/2014/main" id="{44E7AEF4-6FAF-4DC8-8E9C-C775B46EB448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77000"/>
            <a:ext cx="2895600" cy="3238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>
                <a:solidFill>
                  <a:srgbClr val="005595"/>
                </a:solidFill>
                <a:latin typeface="+mn-lt"/>
              </a:defRPr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95897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rgbClr val="005595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000" kern="1200">
          <a:solidFill>
            <a:srgbClr val="005595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ern="1200">
          <a:solidFill>
            <a:srgbClr val="005595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600" kern="1200">
          <a:solidFill>
            <a:srgbClr val="005595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400" kern="1200">
          <a:solidFill>
            <a:srgbClr val="005595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400" kern="1200">
          <a:solidFill>
            <a:srgbClr val="005595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32" name="Picture 12">
            <a:extLst>
              <a:ext uri="{FF2B5EF4-FFF2-40B4-BE49-F238E27FC236}">
                <a16:creationId xmlns:a16="http://schemas.microsoft.com/office/drawing/2014/main" id="{BDED0561-5116-4D9F-A087-0D0FA032764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22" name="Rectangle 2">
            <a:extLst>
              <a:ext uri="{FF2B5EF4-FFF2-40B4-BE49-F238E27FC236}">
                <a16:creationId xmlns:a16="http://schemas.microsoft.com/office/drawing/2014/main" id="{C575047B-21F3-488B-972E-938C41B3EB1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5123" name="Rectangle 3">
            <a:extLst>
              <a:ext uri="{FF2B5EF4-FFF2-40B4-BE49-F238E27FC236}">
                <a16:creationId xmlns:a16="http://schemas.microsoft.com/office/drawing/2014/main" id="{7B2EC82F-BF79-4F48-8C2E-72AC023966F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5124" name="Rectangle 4">
            <a:extLst>
              <a:ext uri="{FF2B5EF4-FFF2-40B4-BE49-F238E27FC236}">
                <a16:creationId xmlns:a16="http://schemas.microsoft.com/office/drawing/2014/main" id="{4D510517-5284-4C27-8C12-4F5C8D41068C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04800" y="5943600"/>
            <a:ext cx="35052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50000"/>
              </a:spcBef>
              <a:defRPr sz="1200">
                <a:solidFill>
                  <a:srgbClr val="005595"/>
                </a:solidFill>
                <a:latin typeface="+mn-lt"/>
              </a:defRPr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5128" name="Rectangle 8">
            <a:extLst>
              <a:ext uri="{FF2B5EF4-FFF2-40B4-BE49-F238E27FC236}">
                <a16:creationId xmlns:a16="http://schemas.microsoft.com/office/drawing/2014/main" id="{78663B06-A4BD-467B-ABFA-049E28ACDF00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477000"/>
            <a:ext cx="21336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5595"/>
                </a:solidFill>
                <a:latin typeface="+mn-lt"/>
              </a:defRPr>
            </a:lvl1pPr>
          </a:lstStyle>
          <a:p>
            <a:fld id="{F3C43FFC-BB3A-4093-9F91-A4662F962CBD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5130" name="Rectangle 10">
            <a:extLst>
              <a:ext uri="{FF2B5EF4-FFF2-40B4-BE49-F238E27FC236}">
                <a16:creationId xmlns:a16="http://schemas.microsoft.com/office/drawing/2014/main" id="{6078EAE8-E2FA-45DC-8E58-D3DD93C4B48A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77000"/>
            <a:ext cx="28956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>
                <a:solidFill>
                  <a:srgbClr val="005595"/>
                </a:solidFill>
                <a:latin typeface="+mn-lt"/>
              </a:defRPr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68709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</p:sldLayoutIdLst>
  <p:hf hdr="0" ftr="0"/>
  <p:txStyles>
    <p:titleStyle>
      <a:lvl1pPr algn="l" rtl="0" fontAlgn="base">
        <a:spcBef>
          <a:spcPct val="0"/>
        </a:spcBef>
        <a:spcAft>
          <a:spcPct val="0"/>
        </a:spcAft>
        <a:defRPr sz="3200" b="1" kern="1200">
          <a:solidFill>
            <a:srgbClr val="005595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2000" kern="1200">
          <a:solidFill>
            <a:srgbClr val="005595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kern="1200">
          <a:solidFill>
            <a:srgbClr val="005595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1600" kern="1200">
          <a:solidFill>
            <a:srgbClr val="005595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1400" kern="1200">
          <a:solidFill>
            <a:srgbClr val="005595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1400" kern="1200">
          <a:solidFill>
            <a:srgbClr val="005595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>
            <a:extLst>
              <a:ext uri="{FF2B5EF4-FFF2-40B4-BE49-F238E27FC236}">
                <a16:creationId xmlns:a16="http://schemas.microsoft.com/office/drawing/2014/main" id="{EAC85F64-D96A-4087-955D-83D16D997ED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28" name="Rectangle 3">
            <a:extLst>
              <a:ext uri="{FF2B5EF4-FFF2-40B4-BE49-F238E27FC236}">
                <a16:creationId xmlns:a16="http://schemas.microsoft.com/office/drawing/2014/main" id="{283C427C-F9A5-402A-8382-CD5E89A2E60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</a:p>
        </p:txBody>
      </p:sp>
      <p:sp>
        <p:nvSpPr>
          <p:cNvPr id="5128" name="Rectangle 8">
            <a:extLst>
              <a:ext uri="{FF2B5EF4-FFF2-40B4-BE49-F238E27FC236}">
                <a16:creationId xmlns:a16="http://schemas.microsoft.com/office/drawing/2014/main" id="{10504E18-2D76-452B-AFCE-D07DB7FBA3EC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534150"/>
            <a:ext cx="2133600" cy="2476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750">
                <a:solidFill>
                  <a:srgbClr val="005595"/>
                </a:solidFill>
                <a:latin typeface="+mn-lt"/>
              </a:defRPr>
            </a:lvl1pPr>
          </a:lstStyle>
          <a:p>
            <a:pPr>
              <a:defRPr/>
            </a:pPr>
            <a:fld id="{BE6F458A-22AC-4D0F-B8B2-7FBC76C47D2F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130" name="Rectangle 10">
            <a:extLst>
              <a:ext uri="{FF2B5EF4-FFF2-40B4-BE49-F238E27FC236}">
                <a16:creationId xmlns:a16="http://schemas.microsoft.com/office/drawing/2014/main" id="{B0E6FB78-CF8A-494A-9626-5B3B6B07234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534150"/>
            <a:ext cx="2895600" cy="3238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900">
                <a:solidFill>
                  <a:srgbClr val="005595"/>
                </a:solidFill>
                <a:latin typeface="+mn-lt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pic>
        <p:nvPicPr>
          <p:cNvPr id="7" name="Picture 8" descr="Logo&#10;&#10;Description automatically generated">
            <a:extLst>
              <a:ext uri="{FF2B5EF4-FFF2-40B4-BE49-F238E27FC236}">
                <a16:creationId xmlns:a16="http://schemas.microsoft.com/office/drawing/2014/main" id="{9B7D4EF9-3005-4B81-9867-F05543CDB99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6700" y="6165452"/>
            <a:ext cx="1019175" cy="507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Straight Connector 9">
            <a:extLst>
              <a:ext uri="{FF2B5EF4-FFF2-40B4-BE49-F238E27FC236}">
                <a16:creationId xmlns:a16="http://schemas.microsoft.com/office/drawing/2014/main" id="{220EA2C4-D7A6-4409-B8FB-AED98C403F45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375138" y="6553200"/>
            <a:ext cx="7454413" cy="0"/>
          </a:xfrm>
          <a:prstGeom prst="line">
            <a:avLst/>
          </a:prstGeom>
          <a:noFill/>
          <a:ln w="12700" algn="ctr">
            <a:solidFill>
              <a:srgbClr val="EC890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025277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005595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5pPr>
      <a:lvl6pPr marL="342900" algn="l" rtl="0" fontAlgn="base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6pPr>
      <a:lvl7pPr marL="685800" algn="l" rtl="0" fontAlgn="base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7pPr>
      <a:lvl8pPr marL="1028700" algn="l" rtl="0" fontAlgn="base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8pPr>
      <a:lvl9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Char char="•"/>
        <a:defRPr sz="1500" kern="1200">
          <a:solidFill>
            <a:srgbClr val="005595"/>
          </a:solidFill>
          <a:latin typeface="+mn-lt"/>
          <a:ea typeface="+mn-ea"/>
          <a:cs typeface="+mn-cs"/>
        </a:defRPr>
      </a:lvl1pPr>
      <a:lvl2pPr marL="557213" indent="-214313" algn="l" rtl="0" eaLnBrk="0" fontAlgn="base" hangingPunct="0">
        <a:spcBef>
          <a:spcPct val="20000"/>
        </a:spcBef>
        <a:spcAft>
          <a:spcPct val="0"/>
        </a:spcAft>
        <a:buChar char="–"/>
        <a:defRPr kern="1200">
          <a:solidFill>
            <a:srgbClr val="005595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Char char="•"/>
        <a:defRPr sz="1200" kern="1200">
          <a:solidFill>
            <a:srgbClr val="005595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Char char="–"/>
        <a:defRPr sz="1050" kern="1200">
          <a:solidFill>
            <a:srgbClr val="005595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Char char="»"/>
        <a:defRPr sz="1050" kern="1200">
          <a:solidFill>
            <a:srgbClr val="005595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31" name="Picture 11" descr="Power Point Template PG 2 new sm"/>
          <p:cNvPicPr>
            <a:picLocks noChangeAspect="1" noChangeArrowheads="1"/>
          </p:cNvPicPr>
          <p:nvPr userDrawn="1"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128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534150"/>
            <a:ext cx="213360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5595"/>
                </a:solidFill>
                <a:latin typeface="+mn-lt"/>
              </a:defRPr>
            </a:lvl1pPr>
          </a:lstStyle>
          <a:p>
            <a:fld id="{4992160A-B009-4DF0-9663-DC50E3E3959B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130" name="Rectangle 1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834639" y="6534150"/>
            <a:ext cx="3532909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100" i="1">
                <a:solidFill>
                  <a:srgbClr val="005595"/>
                </a:solidFill>
                <a:latin typeface="+mn-lt"/>
              </a:defRPr>
            </a:lvl1pPr>
          </a:lstStyle>
          <a:p>
            <a:r>
              <a:rPr lang="en-US"/>
              <a:t>Footer</a:t>
            </a:r>
          </a:p>
        </p:txBody>
      </p:sp>
      <p:graphicFrame>
        <p:nvGraphicFramePr>
          <p:cNvPr id="2" name="Draft Stamp">
            <a:extLst>
              <a:ext uri="{FF2B5EF4-FFF2-40B4-BE49-F238E27FC236}">
                <a16:creationId xmlns:a16="http://schemas.microsoft.com/office/drawing/2014/main" id="{F1870D03-DACA-40BE-8EEE-A014FC0D86E7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68027472"/>
              </p:ext>
            </p:extLst>
          </p:nvPr>
        </p:nvGraphicFramePr>
        <p:xfrm>
          <a:off x="7874000" y="0"/>
          <a:ext cx="1270000" cy="381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0000">
                  <a:extLst>
                    <a:ext uri="{9D8B030D-6E8A-4147-A177-3AD203B41FA5}">
                      <a16:colId xmlns:a16="http://schemas.microsoft.com/office/drawing/2014/main" val="1882422824"/>
                    </a:ext>
                  </a:extLst>
                </a:gridCol>
              </a:tblGrid>
              <a:tr h="381000">
                <a:tc>
                  <a:txBody>
                    <a:bodyPr/>
                    <a:lstStyle/>
                    <a:p>
                      <a:r>
                        <a:rPr lang="en-US" sz="2400" b="1">
                          <a:solidFill>
                            <a:srgbClr val="CC3300"/>
                          </a:solidFill>
                          <a:latin typeface="Calibri" panose="020F0502020204030204" pitchFamily="34" charset="0"/>
                        </a:rPr>
                        <a:t>DRAFT</a:t>
                      </a:r>
                    </a:p>
                  </a:txBody>
                  <a:tcPr marT="0" marB="0" anchorCtr="1">
                    <a:lnT w="12700" cmpd="sng">
                      <a:solidFill>
                        <a:srgbClr val="CC3300"/>
                      </a:solidFill>
                    </a:lnT>
                    <a:lnB w="38100" cmpd="sng">
                      <a:solidFill>
                        <a:srgbClr val="CC3300"/>
                      </a:solidFill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430698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1BA950E3-867C-455B-8AB8-8459A90C77E3}"/>
              </a:ext>
            </a:extLst>
          </p:cNvPr>
          <p:cNvPicPr/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996" y="6135180"/>
            <a:ext cx="1600200" cy="302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2164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2000">
          <a:solidFill>
            <a:srgbClr val="005595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>
          <a:solidFill>
            <a:srgbClr val="005595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1600">
          <a:solidFill>
            <a:srgbClr val="005595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1400">
          <a:solidFill>
            <a:srgbClr val="005595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rgbClr val="005595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rgbClr val="005595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rgbClr val="005595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rgbClr val="005595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rgbClr val="005595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32" name="Picture 12">
            <a:extLst>
              <a:ext uri="{FF2B5EF4-FFF2-40B4-BE49-F238E27FC236}">
                <a16:creationId xmlns:a16="http://schemas.microsoft.com/office/drawing/2014/main" id="{BDED0561-5116-4D9F-A087-0D0FA032764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22" name="Rectangle 2">
            <a:extLst>
              <a:ext uri="{FF2B5EF4-FFF2-40B4-BE49-F238E27FC236}">
                <a16:creationId xmlns:a16="http://schemas.microsoft.com/office/drawing/2014/main" id="{C575047B-21F3-488B-972E-938C41B3EB1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5123" name="Rectangle 3">
            <a:extLst>
              <a:ext uri="{FF2B5EF4-FFF2-40B4-BE49-F238E27FC236}">
                <a16:creationId xmlns:a16="http://schemas.microsoft.com/office/drawing/2014/main" id="{7B2EC82F-BF79-4F48-8C2E-72AC023966F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5124" name="Rectangle 4">
            <a:extLst>
              <a:ext uri="{FF2B5EF4-FFF2-40B4-BE49-F238E27FC236}">
                <a16:creationId xmlns:a16="http://schemas.microsoft.com/office/drawing/2014/main" id="{4D510517-5284-4C27-8C12-4F5C8D41068C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04800" y="5943600"/>
            <a:ext cx="35052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50000"/>
              </a:spcBef>
              <a:defRPr sz="900">
                <a:solidFill>
                  <a:srgbClr val="005595"/>
                </a:solidFill>
                <a:latin typeface="+mn-lt"/>
              </a:defRPr>
            </a:lvl1pPr>
          </a:lstStyle>
          <a:p>
            <a:r>
              <a:rPr lang="en-US" altLang="en-US"/>
              <a:t>(Enter) DEPARTMENT (ALL CAPS)</a:t>
            </a:r>
            <a:br>
              <a:rPr lang="en-US" altLang="en-US"/>
            </a:br>
            <a:r>
              <a:rPr lang="en-US" altLang="en-US"/>
              <a:t>(Enter) Division or Office (Mixed Case)</a:t>
            </a:r>
          </a:p>
          <a:p>
            <a:endParaRPr lang="en-US" altLang="en-US"/>
          </a:p>
        </p:txBody>
      </p:sp>
      <p:sp>
        <p:nvSpPr>
          <p:cNvPr id="5128" name="Rectangle 8">
            <a:extLst>
              <a:ext uri="{FF2B5EF4-FFF2-40B4-BE49-F238E27FC236}">
                <a16:creationId xmlns:a16="http://schemas.microsoft.com/office/drawing/2014/main" id="{78663B06-A4BD-467B-ABFA-049E28ACDF00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477000"/>
            <a:ext cx="21336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750">
                <a:solidFill>
                  <a:srgbClr val="005595"/>
                </a:solidFill>
                <a:latin typeface="+mn-lt"/>
              </a:defRPr>
            </a:lvl1pPr>
          </a:lstStyle>
          <a:p>
            <a:fld id="{F3C43FFC-BB3A-4093-9F91-A4662F962CBD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5130" name="Rectangle 10">
            <a:extLst>
              <a:ext uri="{FF2B5EF4-FFF2-40B4-BE49-F238E27FC236}">
                <a16:creationId xmlns:a16="http://schemas.microsoft.com/office/drawing/2014/main" id="{6078EAE8-E2FA-45DC-8E58-D3DD93C4B48A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77000"/>
            <a:ext cx="28956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900">
                <a:solidFill>
                  <a:srgbClr val="005595"/>
                </a:solidFill>
                <a:latin typeface="+mn-lt"/>
              </a:defRPr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667567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</p:sldLayoutIdLst>
  <p:hf hdr="0" ftr="0"/>
  <p:txStyles>
    <p:titleStyle>
      <a:lvl1pPr algn="l" rtl="0" fontAlgn="base">
        <a:spcBef>
          <a:spcPct val="0"/>
        </a:spcBef>
        <a:spcAft>
          <a:spcPct val="0"/>
        </a:spcAft>
        <a:defRPr sz="2400" b="1" kern="1200">
          <a:solidFill>
            <a:srgbClr val="005595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5pPr>
      <a:lvl6pPr marL="342900" algn="l" rtl="0" fontAlgn="base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6pPr>
      <a:lvl7pPr marL="685800" algn="l" rtl="0" fontAlgn="base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7pPr>
      <a:lvl8pPr marL="1028700" algn="l" rtl="0" fontAlgn="base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8pPr>
      <a:lvl9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9pPr>
    </p:titleStyle>
    <p:bodyStyle>
      <a:lvl1pPr marL="257175" indent="-257175" algn="l" rtl="0" fontAlgn="base">
        <a:spcBef>
          <a:spcPct val="20000"/>
        </a:spcBef>
        <a:spcAft>
          <a:spcPct val="0"/>
        </a:spcAft>
        <a:buChar char="•"/>
        <a:defRPr sz="1500" kern="1200">
          <a:solidFill>
            <a:srgbClr val="005595"/>
          </a:solidFill>
          <a:latin typeface="+mn-lt"/>
          <a:ea typeface="+mn-ea"/>
          <a:cs typeface="+mn-cs"/>
        </a:defRPr>
      </a:lvl1pPr>
      <a:lvl2pPr marL="557213" indent="-214313" algn="l" rtl="0" fontAlgn="base">
        <a:spcBef>
          <a:spcPct val="20000"/>
        </a:spcBef>
        <a:spcAft>
          <a:spcPct val="0"/>
        </a:spcAft>
        <a:buChar char="–"/>
        <a:defRPr kern="1200">
          <a:solidFill>
            <a:srgbClr val="005595"/>
          </a:solidFill>
          <a:latin typeface="+mn-lt"/>
          <a:ea typeface="+mn-ea"/>
          <a:cs typeface="+mn-cs"/>
        </a:defRPr>
      </a:lvl2pPr>
      <a:lvl3pPr marL="857250" indent="-171450" algn="l" rtl="0" fontAlgn="base">
        <a:spcBef>
          <a:spcPct val="20000"/>
        </a:spcBef>
        <a:spcAft>
          <a:spcPct val="0"/>
        </a:spcAft>
        <a:buChar char="•"/>
        <a:defRPr sz="1200" kern="1200">
          <a:solidFill>
            <a:srgbClr val="005595"/>
          </a:solidFill>
          <a:latin typeface="+mn-lt"/>
          <a:ea typeface="+mn-ea"/>
          <a:cs typeface="+mn-cs"/>
        </a:defRPr>
      </a:lvl3pPr>
      <a:lvl4pPr marL="1200150" indent="-171450" algn="l" rtl="0" fontAlgn="base">
        <a:spcBef>
          <a:spcPct val="20000"/>
        </a:spcBef>
        <a:spcAft>
          <a:spcPct val="0"/>
        </a:spcAft>
        <a:buChar char="–"/>
        <a:defRPr sz="1050" kern="1200">
          <a:solidFill>
            <a:srgbClr val="005595"/>
          </a:solidFill>
          <a:latin typeface="+mn-lt"/>
          <a:ea typeface="+mn-ea"/>
          <a:cs typeface="+mn-cs"/>
        </a:defRPr>
      </a:lvl4pPr>
      <a:lvl5pPr marL="1543050" indent="-171450" algn="l" rtl="0" fontAlgn="base">
        <a:spcBef>
          <a:spcPct val="20000"/>
        </a:spcBef>
        <a:spcAft>
          <a:spcPct val="0"/>
        </a:spcAft>
        <a:buChar char="»"/>
        <a:defRPr sz="1050" kern="1200">
          <a:solidFill>
            <a:srgbClr val="005595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7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D17704-AB0F-4AA1-825D-6070B9205E5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 lvl="0">
              <a:defRPr/>
            </a:pPr>
            <a:r>
              <a:rPr lang="en-US" dirty="0"/>
              <a:t>CLHO-CD updat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1E145F9-826D-474E-9C41-28D251D7F31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pPr lvl="0">
              <a:defRPr/>
            </a:pPr>
            <a:r>
              <a:rPr lang="en-US" sz="2000" kern="0" dirty="0">
                <a:solidFill>
                  <a:srgbClr val="E87211"/>
                </a:solidFill>
                <a:latin typeface="Franklin Gothic Medium" panose="020B0603020102020204" pitchFamily="34" charset="0"/>
              </a:rPr>
              <a:t>January 13, 2023</a:t>
            </a:r>
          </a:p>
        </p:txBody>
      </p:sp>
      <p:sp>
        <p:nvSpPr>
          <p:cNvPr id="4" name="slide1">
            <a:extLst>
              <a:ext uri="{FF2B5EF4-FFF2-40B4-BE49-F238E27FC236}">
                <a16:creationId xmlns:a16="http://schemas.microsoft.com/office/drawing/2014/main" id="{7FBA49AB-6CEC-4FD4-BC83-AAA980BDE5D7}"/>
              </a:ext>
            </a:extLst>
          </p:cNvPr>
          <p:cNvSpPr txBox="1">
            <a:spLocks/>
          </p:cNvSpPr>
          <p:nvPr/>
        </p:nvSpPr>
        <p:spPr bwMode="auto">
          <a:xfrm>
            <a:off x="0" y="3429000"/>
            <a:ext cx="9144000" cy="1655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 rtl="0" fontAlgn="base">
              <a:spcBef>
                <a:spcPct val="20000"/>
              </a:spcBef>
              <a:spcAft>
                <a:spcPct val="0"/>
              </a:spcAft>
              <a:buFontTx/>
              <a:buNone/>
              <a:defRPr sz="1400" kern="1200">
                <a:solidFill>
                  <a:srgbClr val="005595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kern="1200">
                <a:solidFill>
                  <a:srgbClr val="005595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rgbClr val="005595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rgbClr val="005595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rgbClr val="005595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49975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2A3F5E-609C-492A-A187-A9E1AE9E5E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E0A98C-E2EA-4FC5-891C-F6CB4D25488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Rationale for changing the outbreak monitoring period for outbreaks of COVID-19 in high-consequence settings</a:t>
            </a:r>
          </a:p>
          <a:p>
            <a:r>
              <a:rPr lang="en-US" dirty="0"/>
              <a:t>Proposed Changes</a:t>
            </a:r>
          </a:p>
          <a:p>
            <a:r>
              <a:rPr lang="en-US" dirty="0"/>
              <a:t>Rationale for changing the outbreak monitoring period for outbreaks of respiratory illness in K-12 schools and ELD settings</a:t>
            </a:r>
          </a:p>
          <a:p>
            <a:r>
              <a:rPr lang="en-US" dirty="0"/>
              <a:t>Discuss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440C641-D13A-444D-8992-D0D8F83E3C8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D26A203-415D-4398-8C79-721B06B11C49}" type="slidenum">
              <a:rPr lang="en-US" altLang="en-US" smtClean="0"/>
              <a:pPr/>
              <a:t>2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233440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45A812-D70D-4A77-A264-33F2450A72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VID-19 Incubation Peri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80E622-B153-4AF7-85DD-29750F30F8B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itial incubation period for COVID-19 was established using those accepted for other coronaviruses</a:t>
            </a:r>
          </a:p>
          <a:p>
            <a:endParaRPr lang="en-US" dirty="0"/>
          </a:p>
          <a:p>
            <a:r>
              <a:rPr lang="en-US" dirty="0"/>
              <a:t>Current Investigative Guidelines include mean incubation period of 3-6 days, with a range of 2-14 days</a:t>
            </a:r>
          </a:p>
          <a:p>
            <a:pPr lvl="1"/>
            <a:r>
              <a:rPr lang="en-US" dirty="0"/>
              <a:t>14 days used for the incubation period for outbreak monitoring</a:t>
            </a:r>
          </a:p>
          <a:p>
            <a:endParaRPr lang="en-US" dirty="0"/>
          </a:p>
          <a:p>
            <a:r>
              <a:rPr lang="en-US" dirty="0"/>
              <a:t>Recent studies suggest the mean incubation period of COVID-19 is declining with the emergence of new variants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6656A9-6375-4FCC-9B9B-A226AA14F7D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D26A203-415D-4398-8C79-721B06B11C49}" type="slidenum">
              <a:rPr lang="en-US" altLang="en-US" smtClean="0"/>
              <a:pPr/>
              <a:t>3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328672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EF025D8A-7CAD-4787-B555-8CC43D112E3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75119344"/>
              </p:ext>
            </p:extLst>
          </p:nvPr>
        </p:nvGraphicFramePr>
        <p:xfrm>
          <a:off x="457200" y="2628654"/>
          <a:ext cx="82296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1903">
                  <a:extLst>
                    <a:ext uri="{9D8B030D-6E8A-4147-A177-3AD203B41FA5}">
                      <a16:colId xmlns:a16="http://schemas.microsoft.com/office/drawing/2014/main" val="897206190"/>
                    </a:ext>
                  </a:extLst>
                </a:gridCol>
                <a:gridCol w="3053918">
                  <a:extLst>
                    <a:ext uri="{9D8B030D-6E8A-4147-A177-3AD203B41FA5}">
                      <a16:colId xmlns:a16="http://schemas.microsoft.com/office/drawing/2014/main" val="1351536682"/>
                    </a:ext>
                  </a:extLst>
                </a:gridCol>
                <a:gridCol w="1225119">
                  <a:extLst>
                    <a:ext uri="{9D8B030D-6E8A-4147-A177-3AD203B41FA5}">
                      <a16:colId xmlns:a16="http://schemas.microsoft.com/office/drawing/2014/main" val="4165388557"/>
                    </a:ext>
                  </a:extLst>
                </a:gridCol>
                <a:gridCol w="2818660">
                  <a:extLst>
                    <a:ext uri="{9D8B030D-6E8A-4147-A177-3AD203B41FA5}">
                      <a16:colId xmlns:a16="http://schemas.microsoft.com/office/drawing/2014/main" val="298435715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Varia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ean Incubation Perio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95% C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. Studies (patient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452466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lph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.00 day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.94-5.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 (n=6374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1139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.50 day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.83-7.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 (n=10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8058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Del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.41 day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.76-5.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 (n=2368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06863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Omicr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.42 day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.88-3.9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 (n=829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95018710"/>
                  </a:ext>
                </a:extLst>
              </a:tr>
            </a:tbl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B27C9F-0495-4EAA-8EB6-F2082228D0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D26A203-415D-4398-8C79-721B06B11C49}" type="slidenum">
              <a:rPr lang="en-US" altLang="en-US" smtClean="0"/>
              <a:pPr/>
              <a:t>4</a:t>
            </a:fld>
            <a:endParaRPr lang="en-US" alt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31A88DF-06B4-4E9D-89F2-AC47C5F14B52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118368" y="6015800"/>
            <a:ext cx="7960312" cy="415848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54000" tIns="63500" rIns="127000" bIns="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rgbClr val="005595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5595"/>
                </a:solidFill>
                <a:latin typeface="Arial" panose="020B060402020202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5595"/>
                </a:solidFill>
                <a:latin typeface="Arial" panose="020B060402020202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5595"/>
                </a:solidFill>
                <a:latin typeface="Arial" panose="020B060402020202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5595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5595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5595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5595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5595"/>
                </a:solidFill>
                <a:latin typeface="Arial" panose="020B0604020202020204" pitchFamily="34" charset="0"/>
              </a:defRPr>
            </a:lvl9pPr>
          </a:lstStyle>
          <a:p>
            <a:pPr>
              <a:defRPr kumimoji="0" sz="1800" b="0" i="0" u="none" strike="noStrike" kern="1200" cap="none" spc="0" normalizeH="0" baseline="0" noProof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Arial"/>
                <a:sym typeface="Wingdings" charset="2"/>
              </a:defRPr>
            </a:pPr>
            <a:r>
              <a:rPr lang="en-US" sz="1000" b="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0000"/>
                </a:solidFill>
                <a:latin typeface="Helvetica" charset="0"/>
                <a:ea typeface="Arial"/>
                <a:cs typeface="Helvetica"/>
                <a:sym typeface="Wingdings"/>
              </a:rPr>
              <a:t>From: </a:t>
            </a:r>
            <a:r>
              <a:rPr lang="en-US" sz="100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0000"/>
                </a:solidFill>
                <a:latin typeface="Helvetica" charset="0"/>
                <a:ea typeface="Arial"/>
                <a:cs typeface="Helvetica"/>
                <a:sym typeface="Wingdings"/>
              </a:rPr>
              <a:t>Incubation Period of COVID-19 Caused by Unique SARS-CoV-2 Strains: A Systematic Review and Meta-analysis</a:t>
            </a:r>
            <a:br>
              <a:rPr lang="en-US" sz="100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0000"/>
                </a:solidFill>
                <a:latin typeface="Helvetica" charset="0"/>
                <a:ea typeface="Arial"/>
                <a:cs typeface="Helvetica"/>
                <a:sym typeface="Wingdings"/>
              </a:rPr>
            </a:br>
            <a:r>
              <a:rPr lang="en-US" sz="1000" b="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0000"/>
                </a:solidFill>
                <a:latin typeface="Helvetica" charset="0"/>
                <a:ea typeface="Arial"/>
                <a:cs typeface="Helvetica"/>
                <a:sym typeface="Wingdings"/>
              </a:rPr>
              <a:t>JAMA </a:t>
            </a:r>
            <a:r>
              <a:rPr lang="en-US" sz="1000" b="0" dirty="0" err="1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0000"/>
                </a:solidFill>
                <a:latin typeface="Helvetica" charset="0"/>
                <a:ea typeface="Arial"/>
                <a:cs typeface="Helvetica"/>
                <a:sym typeface="Wingdings"/>
              </a:rPr>
              <a:t>Netw</a:t>
            </a:r>
            <a:r>
              <a:rPr lang="en-US" sz="1000" b="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0000"/>
                </a:solidFill>
                <a:latin typeface="Helvetica" charset="0"/>
                <a:ea typeface="Arial"/>
                <a:cs typeface="Helvetica"/>
                <a:sym typeface="Wingdings"/>
              </a:rPr>
              <a:t> Open. 2022;5(8):e2228008. doi:10.1001/jamanetworkopen.2022.28008</a:t>
            </a:r>
            <a:br>
              <a:rPr lang="en-US" sz="1400" b="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0000"/>
                </a:solidFill>
                <a:latin typeface="Helvetica" charset="0"/>
                <a:ea typeface="Arial"/>
                <a:cs typeface="Helvetica"/>
                <a:sym typeface="Wingdings"/>
              </a:rPr>
            </a:br>
            <a:endParaRPr lang="en-US" sz="1300" dirty="0"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solidFill>
                <a:srgbClr val="000000"/>
              </a:solidFill>
              <a:latin typeface="Helvetica" charset="0"/>
              <a:ea typeface="Arial"/>
              <a:cs typeface="Helvetica"/>
              <a:sym typeface="Wingdings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C37DF0-6976-4C11-B84F-24F01287EF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274638"/>
            <a:ext cx="8349449" cy="1143000"/>
          </a:xfrm>
        </p:spPr>
        <p:txBody>
          <a:bodyPr/>
          <a:lstStyle/>
          <a:p>
            <a:r>
              <a:rPr lang="en-US" sz="2400" dirty="0"/>
              <a:t>Incubation period of COVID-19 caused by unique SARS-CoV-2 strains: a systematic review and meta-analysi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8D750ED-0507-4BDF-BBAC-2BB334505BD5}"/>
              </a:ext>
            </a:extLst>
          </p:cNvPr>
          <p:cNvSpPr txBox="1"/>
          <p:nvPr/>
        </p:nvSpPr>
        <p:spPr>
          <a:xfrm>
            <a:off x="337351" y="4764583"/>
            <a:ext cx="82296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jority of new cases identified in outbreak settings occur within the first 2-7 days of the most recent cas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ew outbreaks with new cases beyond 14 days of the last case onset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46BBBA2-4737-495D-8EB6-A5BE995FB811}"/>
              </a:ext>
            </a:extLst>
          </p:cNvPr>
          <p:cNvSpPr txBox="1"/>
          <p:nvPr/>
        </p:nvSpPr>
        <p:spPr>
          <a:xfrm>
            <a:off x="337351" y="1376587"/>
            <a:ext cx="82296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viewed 142 studies with 8,112 patients </a:t>
            </a:r>
          </a:p>
          <a:p>
            <a:endParaRPr lang="en-US" sz="1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ooled incubation period was </a:t>
            </a:r>
            <a:r>
              <a:rPr lang="en-US" b="1" dirty="0"/>
              <a:t>6.57 </a:t>
            </a:r>
            <a:r>
              <a:rPr lang="en-US" dirty="0"/>
              <a:t>days (95% CI, 6.26-6.88; range: 1.80 to 18.87 days)</a:t>
            </a:r>
          </a:p>
        </p:txBody>
      </p:sp>
    </p:spTree>
    <p:extLst>
      <p:ext uri="{BB962C8B-B14F-4D97-AF65-F5344CB8AC3E}">
        <p14:creationId xmlns:p14="http://schemas.microsoft.com/office/powerpoint/2010/main" val="21344982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92FC34-C7AF-48AD-99D2-D5755281E8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Proposed changes to the minimum duration of COVID-19 outbreak monitor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09CB41-8439-4DDA-A354-FE90E33825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Congregate care and other high-consequence settings</a:t>
            </a:r>
          </a:p>
          <a:p>
            <a:pPr lvl="1"/>
            <a:r>
              <a:rPr lang="en-US" dirty="0"/>
              <a:t>Proposal to shift from two 14-day incubation periods, to two 7-day incubation periods (total of 14 days after the last reported onset date)</a:t>
            </a:r>
          </a:p>
          <a:p>
            <a:pPr lvl="2"/>
            <a:endParaRPr lang="en-US" dirty="0"/>
          </a:p>
          <a:p>
            <a:r>
              <a:rPr lang="en-US" dirty="0"/>
              <a:t>Changes represent a floor, not a ceiling</a:t>
            </a:r>
          </a:p>
          <a:p>
            <a:pPr marL="457200" lvl="1" indent="0">
              <a:buNone/>
            </a:pP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D79DBD-2D1E-4E66-BE4A-5416D28798B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D26A203-415D-4398-8C79-721B06B11C49}" type="slidenum">
              <a:rPr lang="en-US" altLang="en-US" smtClean="0"/>
              <a:pPr/>
              <a:t>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874314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92FC34-C7AF-48AD-99D2-D5755281E8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chools and EL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09CB41-8439-4DDA-A354-FE90E33825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Intent of outbreak reporting by threshold</a:t>
            </a:r>
          </a:p>
          <a:p>
            <a:pPr lvl="1"/>
            <a:r>
              <a:rPr lang="en-US" dirty="0"/>
              <a:t>Provide situational awareness to LPHAs</a:t>
            </a:r>
          </a:p>
          <a:p>
            <a:pPr lvl="1"/>
            <a:r>
              <a:rPr lang="en-US" dirty="0"/>
              <a:t>Provide recommendations to schools at time of report</a:t>
            </a:r>
            <a:br>
              <a:rPr lang="en-US" dirty="0"/>
            </a:br>
            <a:endParaRPr lang="en-US" dirty="0"/>
          </a:p>
          <a:p>
            <a:r>
              <a:rPr lang="en-US" dirty="0"/>
              <a:t>COVID-19 Communicable Disease Management Plans provide blueprint for school response</a:t>
            </a:r>
          </a:p>
          <a:p>
            <a:pPr lvl="1"/>
            <a:endParaRPr lang="en-US" dirty="0"/>
          </a:p>
          <a:p>
            <a:r>
              <a:rPr lang="en-US" dirty="0"/>
              <a:t>Proposal to shift from two incubation periods to 0 days</a:t>
            </a:r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D79DBD-2D1E-4E66-BE4A-5416D28798B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D26A203-415D-4398-8C79-721B06B11C49}" type="slidenum">
              <a:rPr lang="en-US" altLang="en-US" smtClean="0"/>
              <a:pPr/>
              <a:t>6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495802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zwamWJRxav7sz7hdJ6M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3"/>
</p:tagLst>
</file>

<file path=ppt/theme/theme1.xml><?xml version="1.0" encoding="utf-8"?>
<a:theme xmlns:a="http://schemas.openxmlformats.org/drawingml/2006/main" name="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5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6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7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8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E6D779B6FFC83478B98F9B3B58D289E" ma:contentTypeVersion="6" ma:contentTypeDescription="Create a new document." ma:contentTypeScope="" ma:versionID="cdc4c518939f72895845a1ea7b5c3b56">
  <xsd:schema xmlns:xsd="http://www.w3.org/2001/XMLSchema" xmlns:xs="http://www.w3.org/2001/XMLSchema" xmlns:p="http://schemas.microsoft.com/office/2006/metadata/properties" xmlns:ns3="18c512f8-6ae3-4fa5-87de-0fde3cbac27e" targetNamespace="http://schemas.microsoft.com/office/2006/metadata/properties" ma:root="true" ma:fieldsID="4642ed3397f604e27d2d8e60201f7cef" ns3:_="">
    <xsd:import namespace="18c512f8-6ae3-4fa5-87de-0fde3cbac27e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c512f8-6ae3-4fa5-87de-0fde3cbac27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B61E2F6-3DC9-47B0-AE35-7D04E11A3EB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7AB9560-79BE-4F97-93E6-E90A51FE6729}">
  <ds:schemaRefs>
    <ds:schemaRef ds:uri="http://purl.org/dc/elements/1.1/"/>
    <ds:schemaRef ds:uri="http://schemas.microsoft.com/office/2006/metadata/properties"/>
    <ds:schemaRef ds:uri="18c512f8-6ae3-4fa5-87de-0fde3cbac27e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2A0B95F-ABAB-43A8-B397-8186E9C4B76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8c512f8-6ae3-4fa5-87de-0fde3cbac2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9491</TotalTime>
  <Words>365</Words>
  <Application>Microsoft Office PowerPoint</Application>
  <PresentationFormat>On-screen Show (4:3)</PresentationFormat>
  <Paragraphs>62</Paragraphs>
  <Slides>6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21" baseType="lpstr">
      <vt:lpstr>Arial</vt:lpstr>
      <vt:lpstr>Calibri</vt:lpstr>
      <vt:lpstr>Chronicle Display Black</vt:lpstr>
      <vt:lpstr>Franklin Gothic Medium</vt:lpstr>
      <vt:lpstr>Helvetica</vt:lpstr>
      <vt:lpstr>Open Sans</vt:lpstr>
      <vt:lpstr>Custom Design</vt:lpstr>
      <vt:lpstr>1_Custom Design</vt:lpstr>
      <vt:lpstr>2_Custom Design</vt:lpstr>
      <vt:lpstr>3_Custom Design</vt:lpstr>
      <vt:lpstr>5_Custom Design</vt:lpstr>
      <vt:lpstr>6_Custom Design</vt:lpstr>
      <vt:lpstr>7_Custom Design</vt:lpstr>
      <vt:lpstr>8_Custom Design</vt:lpstr>
      <vt:lpstr>think-cell Slide</vt:lpstr>
      <vt:lpstr>CLHO-CD update</vt:lpstr>
      <vt:lpstr>Outline</vt:lpstr>
      <vt:lpstr>COVID-19 Incubation Period</vt:lpstr>
      <vt:lpstr>Incubation period of COVID-19 caused by unique SARS-CoV-2 strains: a systematic review and meta-analysis</vt:lpstr>
      <vt:lpstr>Proposed changes to the minimum duration of COVID-19 outbreak monitoring</vt:lpstr>
      <vt:lpstr>Schools and ELD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rief Update:  Vaccine Planning for MSFW, Agricultural Workers and Seafood and Food Processing Workers</dc:title>
  <dc:creator>Hargunani Dana</dc:creator>
  <cp:lastModifiedBy>Faulkner Amanda E</cp:lastModifiedBy>
  <cp:revision>498</cp:revision>
  <dcterms:created xsi:type="dcterms:W3CDTF">2021-03-16T03:59:52Z</dcterms:created>
  <dcterms:modified xsi:type="dcterms:W3CDTF">2023-01-13T16:43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E6D779B6FFC83478B98F9B3B58D289E</vt:lpwstr>
  </property>
</Properties>
</file>